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5" r:id="rId4"/>
  </p:sldMasterIdLst>
  <p:notesMasterIdLst>
    <p:notesMasterId r:id="rId12"/>
  </p:notesMasterIdLst>
  <p:sldIdLst>
    <p:sldId id="256" r:id="rId5"/>
    <p:sldId id="4110" r:id="rId6"/>
    <p:sldId id="4111" r:id="rId7"/>
    <p:sldId id="397" r:id="rId8"/>
    <p:sldId id="4112" r:id="rId9"/>
    <p:sldId id="4113" r:id="rId10"/>
    <p:sldId id="260" r:id="rId11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BBCAF0A-702A-DDF3-3F60-09AAD46EA474}" name="Shalom Tchokfe Ndoula" initials="STN" userId="Shalom Tchokfe Ndoula" providerId="None"/>
  <p188:author id="{EAA736A8-7287-CDC8-CC3D-FD47A28407E8}" name="Ombline Richard" initials="OR" userId="S::orichard@gavi.org::d6eff9f3-4750-45b3-bd6d-7423bae8e0e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ONGA BA POUTH, Simon Franky" initials="BBPSF" lastIdx="19" clrIdx="0">
    <p:extLst>
      <p:ext uri="{19B8F6BF-5375-455C-9EA6-DF929625EA0E}">
        <p15:presenceInfo xmlns:p15="http://schemas.microsoft.com/office/powerpoint/2012/main" userId="S::baongas@who.int::631c757b-3f0a-411b-a08e-6b8fdcd7b62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1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E8B7958-2C69-3341-A4FE-ABCCAE93B067}" v="61" dt="2024-09-09T18:46:38.12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172"/>
    <p:restoredTop sz="90310" autoAdjust="0"/>
  </p:normalViewPr>
  <p:slideViewPr>
    <p:cSldViewPr snapToGrid="0" snapToObjects="1">
      <p:cViewPr varScale="1">
        <p:scale>
          <a:sx n="112" d="100"/>
          <a:sy n="112" d="100"/>
        </p:scale>
        <p:origin x="208" y="3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alom, TCHOKFE NDOULA" userId="c88009a8-976b-40fc-b146-a2199ab798bf" providerId="ADAL" clId="{7DDC9211-DB03-BC4E-A941-F43A260AFCFC}"/>
    <pc:docChg chg="modSld">
      <pc:chgData name="Shalom, TCHOKFE NDOULA" userId="c88009a8-976b-40fc-b146-a2199ab798bf" providerId="ADAL" clId="{7DDC9211-DB03-BC4E-A941-F43A260AFCFC}" dt="2024-08-12T11:17:41.783" v="0" actId="14100"/>
      <pc:docMkLst>
        <pc:docMk/>
      </pc:docMkLst>
      <pc:sldChg chg="modSp mod">
        <pc:chgData name="Shalom, TCHOKFE NDOULA" userId="c88009a8-976b-40fc-b146-a2199ab798bf" providerId="ADAL" clId="{7DDC9211-DB03-BC4E-A941-F43A260AFCFC}" dt="2024-08-12T11:17:41.783" v="0" actId="14100"/>
        <pc:sldMkLst>
          <pc:docMk/>
          <pc:sldMk cId="2550800528" sldId="256"/>
        </pc:sldMkLst>
        <pc:spChg chg="mod">
          <ac:chgData name="Shalom, TCHOKFE NDOULA" userId="c88009a8-976b-40fc-b146-a2199ab798bf" providerId="ADAL" clId="{7DDC9211-DB03-BC4E-A941-F43A260AFCFC}" dt="2024-08-12T11:17:41.783" v="0" actId="14100"/>
          <ac:spMkLst>
            <pc:docMk/>
            <pc:sldMk cId="2550800528" sldId="256"/>
            <ac:spMk id="12" creationId="{DA072F9A-2984-6BED-B518-7B6C5A9BBEDD}"/>
          </ac:spMkLst>
        </pc:spChg>
      </pc:sldChg>
    </pc:docChg>
  </pc:docChgLst>
  <pc:docChgLst>
    <pc:chgData name="Shalom, TCHOKFE NDOULA" userId="c88009a8-976b-40fc-b146-a2199ab798bf" providerId="ADAL" clId="{BE8B7958-2C69-3341-A4FE-ABCCAE93B067}"/>
    <pc:docChg chg="undo custSel addSld delSld modSld">
      <pc:chgData name="Shalom, TCHOKFE NDOULA" userId="c88009a8-976b-40fc-b146-a2199ab798bf" providerId="ADAL" clId="{BE8B7958-2C69-3341-A4FE-ABCCAE93B067}" dt="2024-09-09T18:53:48.319" v="4158" actId="313"/>
      <pc:docMkLst>
        <pc:docMk/>
      </pc:docMkLst>
      <pc:sldChg chg="addSp delSp modSp mod">
        <pc:chgData name="Shalom, TCHOKFE NDOULA" userId="c88009a8-976b-40fc-b146-a2199ab798bf" providerId="ADAL" clId="{BE8B7958-2C69-3341-A4FE-ABCCAE93B067}" dt="2024-09-09T18:53:48.319" v="4158" actId="313"/>
        <pc:sldMkLst>
          <pc:docMk/>
          <pc:sldMk cId="2550800528" sldId="256"/>
        </pc:sldMkLst>
        <pc:spChg chg="mod">
          <ac:chgData name="Shalom, TCHOKFE NDOULA" userId="c88009a8-976b-40fc-b146-a2199ab798bf" providerId="ADAL" clId="{BE8B7958-2C69-3341-A4FE-ABCCAE93B067}" dt="2024-09-09T18:53:48.319" v="4158" actId="313"/>
          <ac:spMkLst>
            <pc:docMk/>
            <pc:sldMk cId="2550800528" sldId="256"/>
            <ac:spMk id="3" creationId="{963A3CAD-0CAC-272D-2746-13551D3CFBFF}"/>
          </ac:spMkLst>
        </pc:spChg>
        <pc:spChg chg="add del mod">
          <ac:chgData name="Shalom, TCHOKFE NDOULA" userId="c88009a8-976b-40fc-b146-a2199ab798bf" providerId="ADAL" clId="{BE8B7958-2C69-3341-A4FE-ABCCAE93B067}" dt="2024-09-09T18:44:44.421" v="3146" actId="931"/>
          <ac:spMkLst>
            <pc:docMk/>
            <pc:sldMk cId="2550800528" sldId="256"/>
            <ac:spMk id="5" creationId="{2125F897-15CF-0BDE-0E66-62AF7AE141D7}"/>
          </ac:spMkLst>
        </pc:spChg>
        <pc:spChg chg="mod">
          <ac:chgData name="Shalom, TCHOKFE NDOULA" userId="c88009a8-976b-40fc-b146-a2199ab798bf" providerId="ADAL" clId="{BE8B7958-2C69-3341-A4FE-ABCCAE93B067}" dt="2024-09-09T18:45:08.425" v="3151" actId="26606"/>
          <ac:spMkLst>
            <pc:docMk/>
            <pc:sldMk cId="2550800528" sldId="256"/>
            <ac:spMk id="12" creationId="{DA072F9A-2984-6BED-B518-7B6C5A9BBEDD}"/>
          </ac:spMkLst>
        </pc:spChg>
        <pc:picChg chg="del">
          <ac:chgData name="Shalom, TCHOKFE NDOULA" userId="c88009a8-976b-40fc-b146-a2199ab798bf" providerId="ADAL" clId="{BE8B7958-2C69-3341-A4FE-ABCCAE93B067}" dt="2024-09-09T18:44:40.199" v="3145" actId="478"/>
          <ac:picMkLst>
            <pc:docMk/>
            <pc:sldMk cId="2550800528" sldId="256"/>
            <ac:picMk id="4" creationId="{DDF8CE30-651C-4D26-58C3-3BF8E161E7FD}"/>
          </ac:picMkLst>
        </pc:picChg>
        <pc:picChg chg="add mod modCrop">
          <ac:chgData name="Shalom, TCHOKFE NDOULA" userId="c88009a8-976b-40fc-b146-a2199ab798bf" providerId="ADAL" clId="{BE8B7958-2C69-3341-A4FE-ABCCAE93B067}" dt="2024-09-09T18:45:50.621" v="3215" actId="18131"/>
          <ac:picMkLst>
            <pc:docMk/>
            <pc:sldMk cId="2550800528" sldId="256"/>
            <ac:picMk id="7" creationId="{A4B662BF-1DAD-2E06-79A3-E46A33DC848B}"/>
          </ac:picMkLst>
        </pc:picChg>
      </pc:sldChg>
      <pc:sldChg chg="addSp delSp modSp mod">
        <pc:chgData name="Shalom, TCHOKFE NDOULA" userId="c88009a8-976b-40fc-b146-a2199ab798bf" providerId="ADAL" clId="{BE8B7958-2C69-3341-A4FE-ABCCAE93B067}" dt="2024-09-09T18:53:03.653" v="4054" actId="14100"/>
        <pc:sldMkLst>
          <pc:docMk/>
          <pc:sldMk cId="2598106486" sldId="260"/>
        </pc:sldMkLst>
        <pc:spChg chg="add del mod">
          <ac:chgData name="Shalom, TCHOKFE NDOULA" userId="c88009a8-976b-40fc-b146-a2199ab798bf" providerId="ADAL" clId="{BE8B7958-2C69-3341-A4FE-ABCCAE93B067}" dt="2024-09-09T18:45:57.485" v="3217" actId="931"/>
          <ac:spMkLst>
            <pc:docMk/>
            <pc:sldMk cId="2598106486" sldId="260"/>
            <ac:spMk id="3" creationId="{42440BD7-52D7-080E-2A88-7B029FD7E01E}"/>
          </ac:spMkLst>
        </pc:spChg>
        <pc:spChg chg="add del mod">
          <ac:chgData name="Shalom, TCHOKFE NDOULA" userId="c88009a8-976b-40fc-b146-a2199ab798bf" providerId="ADAL" clId="{BE8B7958-2C69-3341-A4FE-ABCCAE93B067}" dt="2024-09-09T18:46:02.573" v="3219" actId="478"/>
          <ac:spMkLst>
            <pc:docMk/>
            <pc:sldMk cId="2598106486" sldId="260"/>
            <ac:spMk id="9" creationId="{F616AACD-05AA-CFBE-64DB-D8E1790747CC}"/>
          </ac:spMkLst>
        </pc:spChg>
        <pc:picChg chg="del">
          <ac:chgData name="Shalom, TCHOKFE NDOULA" userId="c88009a8-976b-40fc-b146-a2199ab798bf" providerId="ADAL" clId="{BE8B7958-2C69-3341-A4FE-ABCCAE93B067}" dt="2024-09-09T18:45:53.625" v="3216" actId="478"/>
          <ac:picMkLst>
            <pc:docMk/>
            <pc:sldMk cId="2598106486" sldId="260"/>
            <ac:picMk id="5" creationId="{2C32F075-43E8-B333-F54F-209236BC6C74}"/>
          </ac:picMkLst>
        </pc:picChg>
        <pc:picChg chg="add del mod">
          <ac:chgData name="Shalom, TCHOKFE NDOULA" userId="c88009a8-976b-40fc-b146-a2199ab798bf" providerId="ADAL" clId="{BE8B7958-2C69-3341-A4FE-ABCCAE93B067}" dt="2024-09-09T18:46:01.131" v="3218" actId="478"/>
          <ac:picMkLst>
            <pc:docMk/>
            <pc:sldMk cId="2598106486" sldId="260"/>
            <ac:picMk id="7" creationId="{444054F4-629D-23EC-EACD-56755910D10C}"/>
          </ac:picMkLst>
        </pc:picChg>
        <pc:picChg chg="add mod">
          <ac:chgData name="Shalom, TCHOKFE NDOULA" userId="c88009a8-976b-40fc-b146-a2199ab798bf" providerId="ADAL" clId="{BE8B7958-2C69-3341-A4FE-ABCCAE93B067}" dt="2024-09-09T18:53:03.653" v="4054" actId="14100"/>
          <ac:picMkLst>
            <pc:docMk/>
            <pc:sldMk cId="2598106486" sldId="260"/>
            <ac:picMk id="10" creationId="{9788B29B-24B8-FE1C-AA32-C364502128DD}"/>
          </ac:picMkLst>
        </pc:picChg>
      </pc:sldChg>
      <pc:sldChg chg="addSp delSp modSp mod modClrScheme chgLayout">
        <pc:chgData name="Shalom, TCHOKFE NDOULA" userId="c88009a8-976b-40fc-b146-a2199ab798bf" providerId="ADAL" clId="{BE8B7958-2C69-3341-A4FE-ABCCAE93B067}" dt="2024-09-09T18:35:40.673" v="1978" actId="14100"/>
        <pc:sldMkLst>
          <pc:docMk/>
          <pc:sldMk cId="3412127411" sldId="397"/>
        </pc:sldMkLst>
        <pc:spChg chg="mod ord">
          <ac:chgData name="Shalom, TCHOKFE NDOULA" userId="c88009a8-976b-40fc-b146-a2199ab798bf" providerId="ADAL" clId="{BE8B7958-2C69-3341-A4FE-ABCCAE93B067}" dt="2024-09-09T18:35:28.256" v="1974" actId="700"/>
          <ac:spMkLst>
            <pc:docMk/>
            <pc:sldMk cId="3412127411" sldId="397"/>
            <ac:spMk id="2" creationId="{EA9219EC-364B-A3CD-B8BB-A715AFAE0F21}"/>
          </ac:spMkLst>
        </pc:spChg>
        <pc:spChg chg="add del mod ord">
          <ac:chgData name="Shalom, TCHOKFE NDOULA" userId="c88009a8-976b-40fc-b146-a2199ab798bf" providerId="ADAL" clId="{BE8B7958-2C69-3341-A4FE-ABCCAE93B067}" dt="2024-09-09T18:35:34.955" v="1976" actId="478"/>
          <ac:spMkLst>
            <pc:docMk/>
            <pc:sldMk cId="3412127411" sldId="397"/>
            <ac:spMk id="3" creationId="{3C31028E-C6CE-AA51-C5AD-A8D8F0C8305B}"/>
          </ac:spMkLst>
        </pc:spChg>
        <pc:spChg chg="mod ord">
          <ac:chgData name="Shalom, TCHOKFE NDOULA" userId="c88009a8-976b-40fc-b146-a2199ab798bf" providerId="ADAL" clId="{BE8B7958-2C69-3341-A4FE-ABCCAE93B067}" dt="2024-09-09T18:35:28.256" v="1974" actId="700"/>
          <ac:spMkLst>
            <pc:docMk/>
            <pc:sldMk cId="3412127411" sldId="397"/>
            <ac:spMk id="4" creationId="{E5B15F14-931E-F96D-71B6-D77F5330E2AB}"/>
          </ac:spMkLst>
        </pc:spChg>
        <pc:spChg chg="del mod ord">
          <ac:chgData name="Shalom, TCHOKFE NDOULA" userId="c88009a8-976b-40fc-b146-a2199ab798bf" providerId="ADAL" clId="{BE8B7958-2C69-3341-A4FE-ABCCAE93B067}" dt="2024-09-09T18:34:49.340" v="1913" actId="26606"/>
          <ac:spMkLst>
            <pc:docMk/>
            <pc:sldMk cId="3412127411" sldId="397"/>
            <ac:spMk id="13" creationId="{8F1A5AE8-7A40-C22A-78B0-AE1E9D9E8F49}"/>
          </ac:spMkLst>
        </pc:spChg>
        <pc:spChg chg="del mod">
          <ac:chgData name="Shalom, TCHOKFE NDOULA" userId="c88009a8-976b-40fc-b146-a2199ab798bf" providerId="ADAL" clId="{BE8B7958-2C69-3341-A4FE-ABCCAE93B067}" dt="2024-09-09T18:34:25.938" v="1911" actId="700"/>
          <ac:spMkLst>
            <pc:docMk/>
            <pc:sldMk cId="3412127411" sldId="397"/>
            <ac:spMk id="16" creationId="{ADF4DD6F-6D5B-3882-101A-016EA6307AF3}"/>
          </ac:spMkLst>
        </pc:spChg>
        <pc:spChg chg="del">
          <ac:chgData name="Shalom, TCHOKFE NDOULA" userId="c88009a8-976b-40fc-b146-a2199ab798bf" providerId="ADAL" clId="{BE8B7958-2C69-3341-A4FE-ABCCAE93B067}" dt="2024-09-09T18:34:25.938" v="1911" actId="700"/>
          <ac:spMkLst>
            <pc:docMk/>
            <pc:sldMk cId="3412127411" sldId="397"/>
            <ac:spMk id="17" creationId="{11788353-4040-E160-F1BD-A7DB9042654D}"/>
          </ac:spMkLst>
        </pc:spChg>
        <pc:spChg chg="del mod">
          <ac:chgData name="Shalom, TCHOKFE NDOULA" userId="c88009a8-976b-40fc-b146-a2199ab798bf" providerId="ADAL" clId="{BE8B7958-2C69-3341-A4FE-ABCCAE93B067}" dt="2024-09-09T18:34:52.856" v="1914" actId="478"/>
          <ac:spMkLst>
            <pc:docMk/>
            <pc:sldMk cId="3412127411" sldId="397"/>
            <ac:spMk id="20" creationId="{D0200BCC-5D97-9272-4B0A-7741B2F3A27C}"/>
          </ac:spMkLst>
        </pc:spChg>
        <pc:graphicFrameChg chg="add mod modGraphic">
          <ac:chgData name="Shalom, TCHOKFE NDOULA" userId="c88009a8-976b-40fc-b146-a2199ab798bf" providerId="ADAL" clId="{BE8B7958-2C69-3341-A4FE-ABCCAE93B067}" dt="2024-09-09T18:35:40.673" v="1978" actId="14100"/>
          <ac:graphicFrameMkLst>
            <pc:docMk/>
            <pc:sldMk cId="3412127411" sldId="397"/>
            <ac:graphicFrameMk id="22" creationId="{BEE028A8-2E07-62B7-407B-A6D324D526AB}"/>
          </ac:graphicFrameMkLst>
        </pc:graphicFrameChg>
      </pc:sldChg>
      <pc:sldChg chg="addSp modSp mod modClrScheme chgLayout">
        <pc:chgData name="Shalom, TCHOKFE NDOULA" userId="c88009a8-976b-40fc-b146-a2199ab798bf" providerId="ADAL" clId="{BE8B7958-2C69-3341-A4FE-ABCCAE93B067}" dt="2024-09-09T18:31:17.590" v="1347" actId="20577"/>
        <pc:sldMkLst>
          <pc:docMk/>
          <pc:sldMk cId="1891726289" sldId="4111"/>
        </pc:sldMkLst>
        <pc:spChg chg="mod ord">
          <ac:chgData name="Shalom, TCHOKFE NDOULA" userId="c88009a8-976b-40fc-b146-a2199ab798bf" providerId="ADAL" clId="{BE8B7958-2C69-3341-A4FE-ABCCAE93B067}" dt="2024-09-09T18:23:00.846" v="255" actId="14100"/>
          <ac:spMkLst>
            <pc:docMk/>
            <pc:sldMk cId="1891726289" sldId="4111"/>
            <ac:spMk id="2" creationId="{EA9219EC-364B-A3CD-B8BB-A715AFAE0F21}"/>
          </ac:spMkLst>
        </pc:spChg>
        <pc:spChg chg="mod ord">
          <ac:chgData name="Shalom, TCHOKFE NDOULA" userId="c88009a8-976b-40fc-b146-a2199ab798bf" providerId="ADAL" clId="{BE8B7958-2C69-3341-A4FE-ABCCAE93B067}" dt="2024-09-09T18:23:28.143" v="338" actId="20577"/>
          <ac:spMkLst>
            <pc:docMk/>
            <pc:sldMk cId="1891726289" sldId="4111"/>
            <ac:spMk id="3" creationId="{D99C47F6-AFB9-3A13-966B-20CEDD0C1F0B}"/>
          </ac:spMkLst>
        </pc:spChg>
        <pc:spChg chg="mod ord">
          <ac:chgData name="Shalom, TCHOKFE NDOULA" userId="c88009a8-976b-40fc-b146-a2199ab798bf" providerId="ADAL" clId="{BE8B7958-2C69-3341-A4FE-ABCCAE93B067}" dt="2024-09-09T18:22:15.491" v="218" actId="700"/>
          <ac:spMkLst>
            <pc:docMk/>
            <pc:sldMk cId="1891726289" sldId="4111"/>
            <ac:spMk id="4" creationId="{E5B15F14-931E-F96D-71B6-D77F5330E2AB}"/>
          </ac:spMkLst>
        </pc:spChg>
        <pc:spChg chg="add mod ord">
          <ac:chgData name="Shalom, TCHOKFE NDOULA" userId="c88009a8-976b-40fc-b146-a2199ab798bf" providerId="ADAL" clId="{BE8B7958-2C69-3341-A4FE-ABCCAE93B067}" dt="2024-09-09T18:31:17.590" v="1347" actId="20577"/>
          <ac:spMkLst>
            <pc:docMk/>
            <pc:sldMk cId="1891726289" sldId="4111"/>
            <ac:spMk id="5" creationId="{8C9DB456-EC48-3A8A-6747-E553D9154EF0}"/>
          </ac:spMkLst>
        </pc:spChg>
        <pc:spChg chg="add mod ord">
          <ac:chgData name="Shalom, TCHOKFE NDOULA" userId="c88009a8-976b-40fc-b146-a2199ab798bf" providerId="ADAL" clId="{BE8B7958-2C69-3341-A4FE-ABCCAE93B067}" dt="2024-09-09T18:27:21.358" v="995" actId="313"/>
          <ac:spMkLst>
            <pc:docMk/>
            <pc:sldMk cId="1891726289" sldId="4111"/>
            <ac:spMk id="6" creationId="{DFC28197-801B-57A5-3B51-2EBDC80EDC5A}"/>
          </ac:spMkLst>
        </pc:spChg>
        <pc:spChg chg="add mod ord">
          <ac:chgData name="Shalom, TCHOKFE NDOULA" userId="c88009a8-976b-40fc-b146-a2199ab798bf" providerId="ADAL" clId="{BE8B7958-2C69-3341-A4FE-ABCCAE93B067}" dt="2024-09-09T18:30:07.502" v="1278" actId="207"/>
          <ac:spMkLst>
            <pc:docMk/>
            <pc:sldMk cId="1891726289" sldId="4111"/>
            <ac:spMk id="7" creationId="{5E339813-66EA-E817-586C-BF9758FA7E37}"/>
          </ac:spMkLst>
        </pc:spChg>
      </pc:sldChg>
      <pc:sldChg chg="modSp mod">
        <pc:chgData name="Shalom, TCHOKFE NDOULA" userId="c88009a8-976b-40fc-b146-a2199ab798bf" providerId="ADAL" clId="{BE8B7958-2C69-3341-A4FE-ABCCAE93B067}" dt="2024-09-09T18:52:07.741" v="4048" actId="313"/>
        <pc:sldMkLst>
          <pc:docMk/>
          <pc:sldMk cId="3017058796" sldId="4112"/>
        </pc:sldMkLst>
        <pc:spChg chg="mod">
          <ac:chgData name="Shalom, TCHOKFE NDOULA" userId="c88009a8-976b-40fc-b146-a2199ab798bf" providerId="ADAL" clId="{BE8B7958-2C69-3341-A4FE-ABCCAE93B067}" dt="2024-09-09T18:35:55.583" v="2007" actId="20577"/>
          <ac:spMkLst>
            <pc:docMk/>
            <pc:sldMk cId="3017058796" sldId="4112"/>
            <ac:spMk id="3" creationId="{FFB11201-CD09-1332-BB9A-777B81A47BF8}"/>
          </ac:spMkLst>
        </pc:spChg>
        <pc:spChg chg="mod">
          <ac:chgData name="Shalom, TCHOKFE NDOULA" userId="c88009a8-976b-40fc-b146-a2199ab798bf" providerId="ADAL" clId="{BE8B7958-2C69-3341-A4FE-ABCCAE93B067}" dt="2024-09-09T18:50:16.223" v="3738" actId="14100"/>
          <ac:spMkLst>
            <pc:docMk/>
            <pc:sldMk cId="3017058796" sldId="4112"/>
            <ac:spMk id="5" creationId="{F8224E11-0E48-435E-5C77-6AAEE0F2B7F0}"/>
          </ac:spMkLst>
        </pc:spChg>
        <pc:spChg chg="mod">
          <ac:chgData name="Shalom, TCHOKFE NDOULA" userId="c88009a8-976b-40fc-b146-a2199ab798bf" providerId="ADAL" clId="{BE8B7958-2C69-3341-A4FE-ABCCAE93B067}" dt="2024-09-09T18:50:57.134" v="3868" actId="313"/>
          <ac:spMkLst>
            <pc:docMk/>
            <pc:sldMk cId="3017058796" sldId="4112"/>
            <ac:spMk id="6" creationId="{547A8CA8-F598-A91C-7489-D61C6EFF8A0D}"/>
          </ac:spMkLst>
        </pc:spChg>
        <pc:spChg chg="mod">
          <ac:chgData name="Shalom, TCHOKFE NDOULA" userId="c88009a8-976b-40fc-b146-a2199ab798bf" providerId="ADAL" clId="{BE8B7958-2C69-3341-A4FE-ABCCAE93B067}" dt="2024-09-09T18:52:07.741" v="4048" actId="313"/>
          <ac:spMkLst>
            <pc:docMk/>
            <pc:sldMk cId="3017058796" sldId="4112"/>
            <ac:spMk id="7" creationId="{C6A1C635-5093-20AD-0602-C23DAC06E73B}"/>
          </ac:spMkLst>
        </pc:spChg>
      </pc:sldChg>
      <pc:sldChg chg="modSp mod">
        <pc:chgData name="Shalom, TCHOKFE NDOULA" userId="c88009a8-976b-40fc-b146-a2199ab798bf" providerId="ADAL" clId="{BE8B7958-2C69-3341-A4FE-ABCCAE93B067}" dt="2024-09-09T18:42:59.575" v="3144" actId="20577"/>
        <pc:sldMkLst>
          <pc:docMk/>
          <pc:sldMk cId="1761220753" sldId="4113"/>
        </pc:sldMkLst>
        <pc:spChg chg="mod">
          <ac:chgData name="Shalom, TCHOKFE NDOULA" userId="c88009a8-976b-40fc-b146-a2199ab798bf" providerId="ADAL" clId="{BE8B7958-2C69-3341-A4FE-ABCCAE93B067}" dt="2024-09-09T18:41:01.973" v="2881" actId="15"/>
          <ac:spMkLst>
            <pc:docMk/>
            <pc:sldMk cId="1761220753" sldId="4113"/>
            <ac:spMk id="3" creationId="{305AA706-968A-E5B2-FA39-A8173B357266}"/>
          </ac:spMkLst>
        </pc:spChg>
        <pc:spChg chg="mod">
          <ac:chgData name="Shalom, TCHOKFE NDOULA" userId="c88009a8-976b-40fc-b146-a2199ab798bf" providerId="ADAL" clId="{BE8B7958-2C69-3341-A4FE-ABCCAE93B067}" dt="2024-09-09T18:42:59.575" v="3144" actId="20577"/>
          <ac:spMkLst>
            <pc:docMk/>
            <pc:sldMk cId="1761220753" sldId="4113"/>
            <ac:spMk id="5" creationId="{681E9C36-CAC0-FCF1-67E6-9FD2BA89028B}"/>
          </ac:spMkLst>
        </pc:spChg>
      </pc:sldChg>
      <pc:sldChg chg="modSp add del mod">
        <pc:chgData name="Shalom, TCHOKFE NDOULA" userId="c88009a8-976b-40fc-b146-a2199ab798bf" providerId="ADAL" clId="{BE8B7958-2C69-3341-A4FE-ABCCAE93B067}" dt="2024-09-09T18:31:27.128" v="1348" actId="2696"/>
        <pc:sldMkLst>
          <pc:docMk/>
          <pc:sldMk cId="294224475" sldId="4114"/>
        </pc:sldMkLst>
        <pc:spChg chg="mod">
          <ac:chgData name="Shalom, TCHOKFE NDOULA" userId="c88009a8-976b-40fc-b146-a2199ab798bf" providerId="ADAL" clId="{BE8B7958-2C69-3341-A4FE-ABCCAE93B067}" dt="2024-09-09T15:57:28.484" v="155" actId="20577"/>
          <ac:spMkLst>
            <pc:docMk/>
            <pc:sldMk cId="294224475" sldId="4114"/>
            <ac:spMk id="2" creationId="{EA9219EC-364B-A3CD-B8BB-A715AFAE0F21}"/>
          </ac:spMkLst>
        </pc:spChg>
      </pc:sldChg>
    </pc:docChg>
  </pc:docChgLst>
  <pc:docChgLst>
    <pc:chgData name="Shalom, TCHOKFE NDOULA" userId="c88009a8-976b-40fc-b146-a2199ab798bf" providerId="ADAL" clId="{B4962E08-B758-0748-B9CC-B32603BD0750}"/>
    <pc:docChg chg="custSel modSld">
      <pc:chgData name="Shalom, TCHOKFE NDOULA" userId="c88009a8-976b-40fc-b146-a2199ab798bf" providerId="ADAL" clId="{B4962E08-B758-0748-B9CC-B32603BD0750}" dt="2024-08-30T13:55:32.947" v="672" actId="20577"/>
      <pc:docMkLst>
        <pc:docMk/>
      </pc:docMkLst>
      <pc:sldChg chg="modSp mod">
        <pc:chgData name="Shalom, TCHOKFE NDOULA" userId="c88009a8-976b-40fc-b146-a2199ab798bf" providerId="ADAL" clId="{B4962E08-B758-0748-B9CC-B32603BD0750}" dt="2024-08-30T13:52:14.470" v="76" actId="313"/>
        <pc:sldMkLst>
          <pc:docMk/>
          <pc:sldMk cId="2550800528" sldId="256"/>
        </pc:sldMkLst>
        <pc:spChg chg="mod">
          <ac:chgData name="Shalom, TCHOKFE NDOULA" userId="c88009a8-976b-40fc-b146-a2199ab798bf" providerId="ADAL" clId="{B4962E08-B758-0748-B9CC-B32603BD0750}" dt="2024-08-30T13:52:14.470" v="76" actId="313"/>
          <ac:spMkLst>
            <pc:docMk/>
            <pc:sldMk cId="2550800528" sldId="256"/>
            <ac:spMk id="3" creationId="{963A3CAD-0CAC-272D-2746-13551D3CFBFF}"/>
          </ac:spMkLst>
        </pc:spChg>
      </pc:sldChg>
      <pc:sldChg chg="modSp mod">
        <pc:chgData name="Shalom, TCHOKFE NDOULA" userId="c88009a8-976b-40fc-b146-a2199ab798bf" providerId="ADAL" clId="{B4962E08-B758-0748-B9CC-B32603BD0750}" dt="2024-08-30T13:55:23.455" v="671" actId="313"/>
        <pc:sldMkLst>
          <pc:docMk/>
          <pc:sldMk cId="3412127411" sldId="397"/>
        </pc:sldMkLst>
        <pc:spChg chg="mod">
          <ac:chgData name="Shalom, TCHOKFE NDOULA" userId="c88009a8-976b-40fc-b146-a2199ab798bf" providerId="ADAL" clId="{B4962E08-B758-0748-B9CC-B32603BD0750}" dt="2024-08-30T13:52:49.518" v="153" actId="313"/>
          <ac:spMkLst>
            <pc:docMk/>
            <pc:sldMk cId="3412127411" sldId="397"/>
            <ac:spMk id="2" creationId="{EA9219EC-364B-A3CD-B8BB-A715AFAE0F21}"/>
          </ac:spMkLst>
        </pc:spChg>
        <pc:spChg chg="mod">
          <ac:chgData name="Shalom, TCHOKFE NDOULA" userId="c88009a8-976b-40fc-b146-a2199ab798bf" providerId="ADAL" clId="{B4962E08-B758-0748-B9CC-B32603BD0750}" dt="2024-08-30T13:54:26.351" v="467" actId="313"/>
          <ac:spMkLst>
            <pc:docMk/>
            <pc:sldMk cId="3412127411" sldId="397"/>
            <ac:spMk id="13" creationId="{8F1A5AE8-7A40-C22A-78B0-AE1E9D9E8F49}"/>
          </ac:spMkLst>
        </pc:spChg>
        <pc:spChg chg="mod">
          <ac:chgData name="Shalom, TCHOKFE NDOULA" userId="c88009a8-976b-40fc-b146-a2199ab798bf" providerId="ADAL" clId="{B4962E08-B758-0748-B9CC-B32603BD0750}" dt="2024-08-30T13:55:23.455" v="671" actId="313"/>
          <ac:spMkLst>
            <pc:docMk/>
            <pc:sldMk cId="3412127411" sldId="397"/>
            <ac:spMk id="16" creationId="{ADF4DD6F-6D5B-3882-101A-016EA6307AF3}"/>
          </ac:spMkLst>
        </pc:spChg>
      </pc:sldChg>
      <pc:sldChg chg="modSp mod">
        <pc:chgData name="Shalom, TCHOKFE NDOULA" userId="c88009a8-976b-40fc-b146-a2199ab798bf" providerId="ADAL" clId="{B4962E08-B758-0748-B9CC-B32603BD0750}" dt="2024-08-30T13:52:34.183" v="113" actId="313"/>
        <pc:sldMkLst>
          <pc:docMk/>
          <pc:sldMk cId="1891726289" sldId="4111"/>
        </pc:sldMkLst>
        <pc:spChg chg="mod">
          <ac:chgData name="Shalom, TCHOKFE NDOULA" userId="c88009a8-976b-40fc-b146-a2199ab798bf" providerId="ADAL" clId="{B4962E08-B758-0748-B9CC-B32603BD0750}" dt="2024-08-30T13:52:34.183" v="113" actId="313"/>
          <ac:spMkLst>
            <pc:docMk/>
            <pc:sldMk cId="1891726289" sldId="4111"/>
            <ac:spMk id="2" creationId="{EA9219EC-364B-A3CD-B8BB-A715AFAE0F21}"/>
          </ac:spMkLst>
        </pc:spChg>
      </pc:sldChg>
      <pc:sldChg chg="modSp mod">
        <pc:chgData name="Shalom, TCHOKFE NDOULA" userId="c88009a8-976b-40fc-b146-a2199ab798bf" providerId="ADAL" clId="{B4962E08-B758-0748-B9CC-B32603BD0750}" dt="2024-08-30T13:55:32.947" v="672" actId="20577"/>
        <pc:sldMkLst>
          <pc:docMk/>
          <pc:sldMk cId="3017058796" sldId="4112"/>
        </pc:sldMkLst>
        <pc:spChg chg="mod">
          <ac:chgData name="Shalom, TCHOKFE NDOULA" userId="c88009a8-976b-40fc-b146-a2199ab798bf" providerId="ADAL" clId="{B4962E08-B758-0748-B9CC-B32603BD0750}" dt="2024-08-30T13:55:32.947" v="672" actId="20577"/>
          <ac:spMkLst>
            <pc:docMk/>
            <pc:sldMk cId="3017058796" sldId="4112"/>
            <ac:spMk id="2" creationId="{EA9219EC-364B-A3CD-B8BB-A715AFAE0F21}"/>
          </ac:spMkLst>
        </pc:spChg>
      </pc:sldChg>
    </pc:docChg>
  </pc:docChgLst>
  <pc:docChgLst>
    <pc:chgData name="Shalom, TCHOKFE NDOULA" userId="c88009a8-976b-40fc-b146-a2199ab798bf" providerId="ADAL" clId="{F74DB0AE-D881-DB49-868A-D6FC17C8A669}"/>
    <pc:docChg chg="modSld">
      <pc:chgData name="Shalom, TCHOKFE NDOULA" userId="c88009a8-976b-40fc-b146-a2199ab798bf" providerId="ADAL" clId="{F74DB0AE-D881-DB49-868A-D6FC17C8A669}" dt="2024-08-13T08:29:56.237" v="4" actId="27614"/>
      <pc:docMkLst>
        <pc:docMk/>
      </pc:docMkLst>
      <pc:sldChg chg="addSp delSp modSp mod">
        <pc:chgData name="Shalom, TCHOKFE NDOULA" userId="c88009a8-976b-40fc-b146-a2199ab798bf" providerId="ADAL" clId="{F74DB0AE-D881-DB49-868A-D6FC17C8A669}" dt="2024-08-13T08:29:47.951" v="3" actId="931"/>
        <pc:sldMkLst>
          <pc:docMk/>
          <pc:sldMk cId="2550800528" sldId="256"/>
        </pc:sldMkLst>
        <pc:spChg chg="del">
          <ac:chgData name="Shalom, TCHOKFE NDOULA" userId="c88009a8-976b-40fc-b146-a2199ab798bf" providerId="ADAL" clId="{F74DB0AE-D881-DB49-868A-D6FC17C8A669}" dt="2024-08-13T08:29:32.728" v="0" actId="931"/>
          <ac:spMkLst>
            <pc:docMk/>
            <pc:sldMk cId="2550800528" sldId="256"/>
            <ac:spMk id="5" creationId="{438544D9-A697-524E-569A-0F4FBC208C9B}"/>
          </ac:spMkLst>
        </pc:spChg>
        <pc:picChg chg="add mod">
          <ac:chgData name="Shalom, TCHOKFE NDOULA" userId="c88009a8-976b-40fc-b146-a2199ab798bf" providerId="ADAL" clId="{F74DB0AE-D881-DB49-868A-D6FC17C8A669}" dt="2024-08-13T08:29:47.951" v="3" actId="931"/>
          <ac:picMkLst>
            <pc:docMk/>
            <pc:sldMk cId="2550800528" sldId="256"/>
            <ac:picMk id="4" creationId="{DDF8CE30-651C-4D26-58C3-3BF8E161E7FD}"/>
          </ac:picMkLst>
        </pc:picChg>
      </pc:sldChg>
      <pc:sldChg chg="addSp delSp modSp mod">
        <pc:chgData name="Shalom, TCHOKFE NDOULA" userId="c88009a8-976b-40fc-b146-a2199ab798bf" providerId="ADAL" clId="{F74DB0AE-D881-DB49-868A-D6FC17C8A669}" dt="2024-08-13T08:29:56.237" v="4" actId="27614"/>
        <pc:sldMkLst>
          <pc:docMk/>
          <pc:sldMk cId="2598106486" sldId="260"/>
        </pc:sldMkLst>
        <pc:spChg chg="del mod">
          <ac:chgData name="Shalom, TCHOKFE NDOULA" userId="c88009a8-976b-40fc-b146-a2199ab798bf" providerId="ADAL" clId="{F74DB0AE-D881-DB49-868A-D6FC17C8A669}" dt="2024-08-13T08:29:47.951" v="3" actId="931"/>
          <ac:spMkLst>
            <pc:docMk/>
            <pc:sldMk cId="2598106486" sldId="260"/>
            <ac:spMk id="3" creationId="{CF7F6DCF-145B-1F29-5B06-D057C3FA7DFF}"/>
          </ac:spMkLst>
        </pc:spChg>
        <pc:picChg chg="add mod">
          <ac:chgData name="Shalom, TCHOKFE NDOULA" userId="c88009a8-976b-40fc-b146-a2199ab798bf" providerId="ADAL" clId="{F74DB0AE-D881-DB49-868A-D6FC17C8A669}" dt="2024-08-13T08:29:56.237" v="4" actId="27614"/>
          <ac:picMkLst>
            <pc:docMk/>
            <pc:sldMk cId="2598106486" sldId="260"/>
            <ac:picMk id="5" creationId="{2C32F075-43E8-B333-F54F-209236BC6C74}"/>
          </ac:picMkLst>
        </pc:pic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svg"/><Relationship Id="rId1" Type="http://schemas.openxmlformats.org/officeDocument/2006/relationships/image" Target="../media/image12.png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svg"/><Relationship Id="rId1" Type="http://schemas.openxmlformats.org/officeDocument/2006/relationships/image" Target="../media/image12.png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025799-1A48-40B7-8069-1C9EBD9AE2D0}" type="doc">
      <dgm:prSet loTypeId="urn:microsoft.com/office/officeart/2018/2/layout/IconLabel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9B2B48B-25E3-46E2-88A7-D62DDA3ECC94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b="1" noProof="0" dirty="0"/>
            <a:t>Justification</a:t>
          </a:r>
        </a:p>
      </dgm:t>
    </dgm:pt>
    <dgm:pt modelId="{EEDC8F2A-0E5E-4CD4-8C61-D66F7C34B410}" type="parTrans" cxnId="{50582B00-07F1-41C5-919D-61D9D789133F}">
      <dgm:prSet/>
      <dgm:spPr/>
      <dgm:t>
        <a:bodyPr/>
        <a:lstStyle/>
        <a:p>
          <a:endParaRPr lang="en-US" b="1" noProof="0" dirty="0"/>
        </a:p>
      </dgm:t>
    </dgm:pt>
    <dgm:pt modelId="{58408D24-95AD-4097-907C-1F03393D90DE}" type="sibTrans" cxnId="{50582B00-07F1-41C5-919D-61D9D789133F}">
      <dgm:prSet/>
      <dgm:spPr/>
      <dgm:t>
        <a:bodyPr/>
        <a:lstStyle/>
        <a:p>
          <a:endParaRPr lang="en-US" b="1" noProof="0" dirty="0"/>
        </a:p>
      </dgm:t>
    </dgm:pt>
    <dgm:pt modelId="{A985EEDC-4307-406C-94B8-9D6A6549AE16}">
      <dgm:prSet/>
      <dgm:spPr/>
      <dgm:t>
        <a:bodyPr/>
        <a:lstStyle/>
        <a:p>
          <a:pPr>
            <a:lnSpc>
              <a:spcPct val="100000"/>
            </a:lnSpc>
          </a:pPr>
          <a:r>
            <a:rPr lang="fr-FR" b="1" dirty="0"/>
            <a:t>Qu’est ce qui a bien marché et qu’est ce qui nécessiterai d’être amélioré</a:t>
          </a:r>
          <a:endParaRPr lang="en-US" b="1" noProof="0" dirty="0"/>
        </a:p>
      </dgm:t>
    </dgm:pt>
    <dgm:pt modelId="{27201DC7-5F62-41C3-B3EF-355CEA303249}" type="parTrans" cxnId="{A143A24B-C4BA-4EB8-B38A-103A852FA350}">
      <dgm:prSet/>
      <dgm:spPr/>
      <dgm:t>
        <a:bodyPr/>
        <a:lstStyle/>
        <a:p>
          <a:endParaRPr lang="en-US" b="1" noProof="0" dirty="0"/>
        </a:p>
      </dgm:t>
    </dgm:pt>
    <dgm:pt modelId="{D5AFDADA-ED9D-4AC1-9305-E58988FFB376}" type="sibTrans" cxnId="{A143A24B-C4BA-4EB8-B38A-103A852FA350}">
      <dgm:prSet/>
      <dgm:spPr/>
      <dgm:t>
        <a:bodyPr/>
        <a:lstStyle/>
        <a:p>
          <a:endParaRPr lang="en-US" b="1" noProof="0" dirty="0"/>
        </a:p>
      </dgm:t>
    </dgm:pt>
    <dgm:pt modelId="{2B467FFC-B239-4559-A134-46CE7F3FC0F2}">
      <dgm:prSet/>
      <dgm:spPr/>
      <dgm:t>
        <a:bodyPr/>
        <a:lstStyle/>
        <a:p>
          <a:pPr>
            <a:lnSpc>
              <a:spcPct val="100000"/>
            </a:lnSpc>
          </a:pPr>
          <a:r>
            <a:rPr lang="fr-FR" b="1" dirty="0"/>
            <a:t>Quelles leçons tirées de l’expérience et quelles recommandations aux autres pays </a:t>
          </a:r>
          <a:endParaRPr lang="en-US" b="1" noProof="0" dirty="0"/>
        </a:p>
      </dgm:t>
    </dgm:pt>
    <dgm:pt modelId="{98E32039-BC1F-4885-8940-1C01D2B7804E}" type="parTrans" cxnId="{C984793A-0C34-4A91-B57D-651C6CCA9BDE}">
      <dgm:prSet/>
      <dgm:spPr/>
      <dgm:t>
        <a:bodyPr/>
        <a:lstStyle/>
        <a:p>
          <a:endParaRPr lang="en-US" b="1" noProof="0" dirty="0"/>
        </a:p>
      </dgm:t>
    </dgm:pt>
    <dgm:pt modelId="{7E198E98-36BC-4E3F-ABF9-4782334F2218}" type="sibTrans" cxnId="{C984793A-0C34-4A91-B57D-651C6CCA9BDE}">
      <dgm:prSet/>
      <dgm:spPr/>
      <dgm:t>
        <a:bodyPr/>
        <a:lstStyle/>
        <a:p>
          <a:endParaRPr lang="en-US" b="1" noProof="0" dirty="0"/>
        </a:p>
      </dgm:t>
    </dgm:pt>
    <dgm:pt modelId="{554BE307-170D-F640-B991-8C5A7A654C37}">
      <dgm:prSet/>
      <dgm:spPr/>
      <dgm:t>
        <a:bodyPr/>
        <a:lstStyle/>
        <a:p>
          <a:pPr>
            <a:lnSpc>
              <a:spcPct val="100000"/>
            </a:lnSpc>
          </a:pPr>
          <a:r>
            <a:rPr lang="fr-FR" b="1" dirty="0"/>
            <a:t>Qu’est-ce le pays a fait dans la thématique</a:t>
          </a:r>
          <a:endParaRPr lang="en-US" b="1" noProof="0" dirty="0"/>
        </a:p>
      </dgm:t>
    </dgm:pt>
    <dgm:pt modelId="{00CDC79F-7528-FD47-9CEF-419D7911B4D2}" type="parTrans" cxnId="{57A30767-4665-F44D-BF37-99BB98F2D780}">
      <dgm:prSet/>
      <dgm:spPr/>
      <dgm:t>
        <a:bodyPr/>
        <a:lstStyle/>
        <a:p>
          <a:endParaRPr lang="en-US" b="1" noProof="0" dirty="0"/>
        </a:p>
      </dgm:t>
    </dgm:pt>
    <dgm:pt modelId="{C33BC55A-0E9E-904A-9A71-EF656BB7AEC1}" type="sibTrans" cxnId="{57A30767-4665-F44D-BF37-99BB98F2D780}">
      <dgm:prSet/>
      <dgm:spPr/>
      <dgm:t>
        <a:bodyPr/>
        <a:lstStyle/>
        <a:p>
          <a:endParaRPr lang="en-US" b="1" noProof="0" dirty="0"/>
        </a:p>
      </dgm:t>
    </dgm:pt>
    <dgm:pt modelId="{9554C8E9-89F9-44ED-AED1-DD2E65110643}" type="pres">
      <dgm:prSet presAssocID="{FC025799-1A48-40B7-8069-1C9EBD9AE2D0}" presName="root" presStyleCnt="0">
        <dgm:presLayoutVars>
          <dgm:dir/>
          <dgm:resizeHandles val="exact"/>
        </dgm:presLayoutVars>
      </dgm:prSet>
      <dgm:spPr/>
    </dgm:pt>
    <dgm:pt modelId="{4B2D856A-F63B-457C-8D81-AFAB6EDA495F}" type="pres">
      <dgm:prSet presAssocID="{19B2B48B-25E3-46E2-88A7-D62DDA3ECC94}" presName="compNode" presStyleCnt="0"/>
      <dgm:spPr/>
    </dgm:pt>
    <dgm:pt modelId="{84182695-0423-4E23-ABC2-81101A0A483B}" type="pres">
      <dgm:prSet presAssocID="{19B2B48B-25E3-46E2-88A7-D62DDA3ECC94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</dgm:pt>
    <dgm:pt modelId="{BA455530-9110-4641-A5B6-088C7FF1752B}" type="pres">
      <dgm:prSet presAssocID="{19B2B48B-25E3-46E2-88A7-D62DDA3ECC94}" presName="spaceRect" presStyleCnt="0"/>
      <dgm:spPr/>
    </dgm:pt>
    <dgm:pt modelId="{6AF9E5D8-EBAF-4C80-9C14-716C42B64BCA}" type="pres">
      <dgm:prSet presAssocID="{19B2B48B-25E3-46E2-88A7-D62DDA3ECC94}" presName="textRect" presStyleLbl="revTx" presStyleIdx="0" presStyleCnt="4">
        <dgm:presLayoutVars>
          <dgm:chMax val="1"/>
          <dgm:chPref val="1"/>
        </dgm:presLayoutVars>
      </dgm:prSet>
      <dgm:spPr/>
    </dgm:pt>
    <dgm:pt modelId="{254AA4D8-6FA4-4433-ACD0-BB62F860B8A1}" type="pres">
      <dgm:prSet presAssocID="{58408D24-95AD-4097-907C-1F03393D90DE}" presName="sibTrans" presStyleCnt="0"/>
      <dgm:spPr/>
    </dgm:pt>
    <dgm:pt modelId="{65CF9F7D-AC2A-6044-BC19-4CAF30255716}" type="pres">
      <dgm:prSet presAssocID="{554BE307-170D-F640-B991-8C5A7A654C37}" presName="compNode" presStyleCnt="0"/>
      <dgm:spPr/>
    </dgm:pt>
    <dgm:pt modelId="{2E00FEE1-85F8-A244-B8F3-4A96B06DC562}" type="pres">
      <dgm:prSet presAssocID="{554BE307-170D-F640-B991-8C5A7A654C37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</dgm:pt>
    <dgm:pt modelId="{813168CA-E993-AE41-BA9C-74E8B0B5458E}" type="pres">
      <dgm:prSet presAssocID="{554BE307-170D-F640-B991-8C5A7A654C37}" presName="spaceRect" presStyleCnt="0"/>
      <dgm:spPr/>
    </dgm:pt>
    <dgm:pt modelId="{1919CAC4-D16E-A84F-B8F2-28903AA59074}" type="pres">
      <dgm:prSet presAssocID="{554BE307-170D-F640-B991-8C5A7A654C37}" presName="textRect" presStyleLbl="revTx" presStyleIdx="1" presStyleCnt="4">
        <dgm:presLayoutVars>
          <dgm:chMax val="1"/>
          <dgm:chPref val="1"/>
        </dgm:presLayoutVars>
      </dgm:prSet>
      <dgm:spPr/>
    </dgm:pt>
    <dgm:pt modelId="{C8605FE3-6B1F-D342-87AF-BE2961725FF9}" type="pres">
      <dgm:prSet presAssocID="{C33BC55A-0E9E-904A-9A71-EF656BB7AEC1}" presName="sibTrans" presStyleCnt="0"/>
      <dgm:spPr/>
    </dgm:pt>
    <dgm:pt modelId="{92A59B3B-430D-4403-B07D-9D84C5CBA1C9}" type="pres">
      <dgm:prSet presAssocID="{A985EEDC-4307-406C-94B8-9D6A6549AE16}" presName="compNode" presStyleCnt="0"/>
      <dgm:spPr/>
    </dgm:pt>
    <dgm:pt modelId="{90829DA7-F8D8-4A8A-92C0-C8265F9D8F4C}" type="pres">
      <dgm:prSet presAssocID="{A985EEDC-4307-406C-94B8-9D6A6549AE16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</dgm:pt>
    <dgm:pt modelId="{617C7F5D-63C6-4F59-97DC-C6C993865D04}" type="pres">
      <dgm:prSet presAssocID="{A985EEDC-4307-406C-94B8-9D6A6549AE16}" presName="spaceRect" presStyleCnt="0"/>
      <dgm:spPr/>
    </dgm:pt>
    <dgm:pt modelId="{60BE1166-6AD2-44F7-BEA0-825282471865}" type="pres">
      <dgm:prSet presAssocID="{A985EEDC-4307-406C-94B8-9D6A6549AE16}" presName="textRect" presStyleLbl="revTx" presStyleIdx="2" presStyleCnt="4">
        <dgm:presLayoutVars>
          <dgm:chMax val="1"/>
          <dgm:chPref val="1"/>
        </dgm:presLayoutVars>
      </dgm:prSet>
      <dgm:spPr/>
    </dgm:pt>
    <dgm:pt modelId="{20CF243C-4831-4910-A13C-DD098293B2EE}" type="pres">
      <dgm:prSet presAssocID="{D5AFDADA-ED9D-4AC1-9305-E58988FFB376}" presName="sibTrans" presStyleCnt="0"/>
      <dgm:spPr/>
    </dgm:pt>
    <dgm:pt modelId="{70A25893-7511-4A3E-A14E-A810F5D172EB}" type="pres">
      <dgm:prSet presAssocID="{2B467FFC-B239-4559-A134-46CE7F3FC0F2}" presName="compNode" presStyleCnt="0"/>
      <dgm:spPr/>
    </dgm:pt>
    <dgm:pt modelId="{8B76417C-DB66-4E74-9208-4AEAAD43C7C8}" type="pres">
      <dgm:prSet presAssocID="{2B467FFC-B239-4559-A134-46CE7F3FC0F2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</dgm:pt>
    <dgm:pt modelId="{95138F23-44A9-4FAC-AF9E-74CA77A94C91}" type="pres">
      <dgm:prSet presAssocID="{2B467FFC-B239-4559-A134-46CE7F3FC0F2}" presName="spaceRect" presStyleCnt="0"/>
      <dgm:spPr/>
    </dgm:pt>
    <dgm:pt modelId="{5250F91D-CB5C-4DCE-891E-0B00A9EE2FD8}" type="pres">
      <dgm:prSet presAssocID="{2B467FFC-B239-4559-A134-46CE7F3FC0F2}" presName="textRect" presStyleLbl="revTx" presStyleIdx="3" presStyleCnt="4">
        <dgm:presLayoutVars>
          <dgm:chMax val="1"/>
          <dgm:chPref val="1"/>
        </dgm:presLayoutVars>
      </dgm:prSet>
      <dgm:spPr/>
    </dgm:pt>
  </dgm:ptLst>
  <dgm:cxnLst>
    <dgm:cxn modelId="{50582B00-07F1-41C5-919D-61D9D789133F}" srcId="{FC025799-1A48-40B7-8069-1C9EBD9AE2D0}" destId="{19B2B48B-25E3-46E2-88A7-D62DDA3ECC94}" srcOrd="0" destOrd="0" parTransId="{EEDC8F2A-0E5E-4CD4-8C61-D66F7C34B410}" sibTransId="{58408D24-95AD-4097-907C-1F03393D90DE}"/>
    <dgm:cxn modelId="{B42CA10A-FF98-C041-8B61-3D299815A10B}" type="presOf" srcId="{A985EEDC-4307-406C-94B8-9D6A6549AE16}" destId="{60BE1166-6AD2-44F7-BEA0-825282471865}" srcOrd="0" destOrd="0" presId="urn:microsoft.com/office/officeart/2018/2/layout/IconLabelList"/>
    <dgm:cxn modelId="{73BB1B38-53BE-0A4C-BFD2-2F9196CD71AC}" type="presOf" srcId="{19B2B48B-25E3-46E2-88A7-D62DDA3ECC94}" destId="{6AF9E5D8-EBAF-4C80-9C14-716C42B64BCA}" srcOrd="0" destOrd="0" presId="urn:microsoft.com/office/officeart/2018/2/layout/IconLabelList"/>
    <dgm:cxn modelId="{75FED738-388E-4D93-AA47-06A609D27031}" type="presOf" srcId="{FC025799-1A48-40B7-8069-1C9EBD9AE2D0}" destId="{9554C8E9-89F9-44ED-AED1-DD2E65110643}" srcOrd="0" destOrd="0" presId="urn:microsoft.com/office/officeart/2018/2/layout/IconLabelList"/>
    <dgm:cxn modelId="{C984793A-0C34-4A91-B57D-651C6CCA9BDE}" srcId="{FC025799-1A48-40B7-8069-1C9EBD9AE2D0}" destId="{2B467FFC-B239-4559-A134-46CE7F3FC0F2}" srcOrd="3" destOrd="0" parTransId="{98E32039-BC1F-4885-8940-1C01D2B7804E}" sibTransId="{7E198E98-36BC-4E3F-ABF9-4782334F2218}"/>
    <dgm:cxn modelId="{A143A24B-C4BA-4EB8-B38A-103A852FA350}" srcId="{FC025799-1A48-40B7-8069-1C9EBD9AE2D0}" destId="{A985EEDC-4307-406C-94B8-9D6A6549AE16}" srcOrd="2" destOrd="0" parTransId="{27201DC7-5F62-41C3-B3EF-355CEA303249}" sibTransId="{D5AFDADA-ED9D-4AC1-9305-E58988FFB376}"/>
    <dgm:cxn modelId="{57A30767-4665-F44D-BF37-99BB98F2D780}" srcId="{FC025799-1A48-40B7-8069-1C9EBD9AE2D0}" destId="{554BE307-170D-F640-B991-8C5A7A654C37}" srcOrd="1" destOrd="0" parTransId="{00CDC79F-7528-FD47-9CEF-419D7911B4D2}" sibTransId="{C33BC55A-0E9E-904A-9A71-EF656BB7AEC1}"/>
    <dgm:cxn modelId="{67426469-180D-4B40-893F-F3A081B8BF1D}" type="presOf" srcId="{554BE307-170D-F640-B991-8C5A7A654C37}" destId="{1919CAC4-D16E-A84F-B8F2-28903AA59074}" srcOrd="0" destOrd="0" presId="urn:microsoft.com/office/officeart/2018/2/layout/IconLabelList"/>
    <dgm:cxn modelId="{0593B976-A271-714C-AEB0-8C517FB79131}" type="presOf" srcId="{2B467FFC-B239-4559-A134-46CE7F3FC0F2}" destId="{5250F91D-CB5C-4DCE-891E-0B00A9EE2FD8}" srcOrd="0" destOrd="0" presId="urn:microsoft.com/office/officeart/2018/2/layout/IconLabelList"/>
    <dgm:cxn modelId="{C9A8333A-4E58-9B46-9943-2A8E670C9344}" type="presParOf" srcId="{9554C8E9-89F9-44ED-AED1-DD2E65110643}" destId="{4B2D856A-F63B-457C-8D81-AFAB6EDA495F}" srcOrd="0" destOrd="0" presId="urn:microsoft.com/office/officeart/2018/2/layout/IconLabelList"/>
    <dgm:cxn modelId="{FA0D2072-989F-4846-8C3C-464FA3D4D643}" type="presParOf" srcId="{4B2D856A-F63B-457C-8D81-AFAB6EDA495F}" destId="{84182695-0423-4E23-ABC2-81101A0A483B}" srcOrd="0" destOrd="0" presId="urn:microsoft.com/office/officeart/2018/2/layout/IconLabelList"/>
    <dgm:cxn modelId="{16E83D6E-D9F9-3641-9B03-1AEC4358FB69}" type="presParOf" srcId="{4B2D856A-F63B-457C-8D81-AFAB6EDA495F}" destId="{BA455530-9110-4641-A5B6-088C7FF1752B}" srcOrd="1" destOrd="0" presId="urn:microsoft.com/office/officeart/2018/2/layout/IconLabelList"/>
    <dgm:cxn modelId="{950D348A-9FB7-7C41-812B-4B6B540F9FF6}" type="presParOf" srcId="{4B2D856A-F63B-457C-8D81-AFAB6EDA495F}" destId="{6AF9E5D8-EBAF-4C80-9C14-716C42B64BCA}" srcOrd="2" destOrd="0" presId="urn:microsoft.com/office/officeart/2018/2/layout/IconLabelList"/>
    <dgm:cxn modelId="{AED92FD3-B335-3D4A-B0E0-C4608B523B9C}" type="presParOf" srcId="{9554C8E9-89F9-44ED-AED1-DD2E65110643}" destId="{254AA4D8-6FA4-4433-ACD0-BB62F860B8A1}" srcOrd="1" destOrd="0" presId="urn:microsoft.com/office/officeart/2018/2/layout/IconLabelList"/>
    <dgm:cxn modelId="{540754DD-A714-F84E-B7CB-A9E85E2D4E4C}" type="presParOf" srcId="{9554C8E9-89F9-44ED-AED1-DD2E65110643}" destId="{65CF9F7D-AC2A-6044-BC19-4CAF30255716}" srcOrd="2" destOrd="0" presId="urn:microsoft.com/office/officeart/2018/2/layout/IconLabelList"/>
    <dgm:cxn modelId="{7B9FB6F5-D962-E844-9704-9184A3F9C68E}" type="presParOf" srcId="{65CF9F7D-AC2A-6044-BC19-4CAF30255716}" destId="{2E00FEE1-85F8-A244-B8F3-4A96B06DC562}" srcOrd="0" destOrd="0" presId="urn:microsoft.com/office/officeart/2018/2/layout/IconLabelList"/>
    <dgm:cxn modelId="{99D639A9-2871-6544-A82C-3FD103733BBD}" type="presParOf" srcId="{65CF9F7D-AC2A-6044-BC19-4CAF30255716}" destId="{813168CA-E993-AE41-BA9C-74E8B0B5458E}" srcOrd="1" destOrd="0" presId="urn:microsoft.com/office/officeart/2018/2/layout/IconLabelList"/>
    <dgm:cxn modelId="{C2C2E043-5CB8-1E49-95D5-2BE321898226}" type="presParOf" srcId="{65CF9F7D-AC2A-6044-BC19-4CAF30255716}" destId="{1919CAC4-D16E-A84F-B8F2-28903AA59074}" srcOrd="2" destOrd="0" presId="urn:microsoft.com/office/officeart/2018/2/layout/IconLabelList"/>
    <dgm:cxn modelId="{B4160DAE-0F6A-EA4C-BC08-55D72C641001}" type="presParOf" srcId="{9554C8E9-89F9-44ED-AED1-DD2E65110643}" destId="{C8605FE3-6B1F-D342-87AF-BE2961725FF9}" srcOrd="3" destOrd="0" presId="urn:microsoft.com/office/officeart/2018/2/layout/IconLabelList"/>
    <dgm:cxn modelId="{60556322-F2A4-B94B-8B3A-2CF673A37DF8}" type="presParOf" srcId="{9554C8E9-89F9-44ED-AED1-DD2E65110643}" destId="{92A59B3B-430D-4403-B07D-9D84C5CBA1C9}" srcOrd="4" destOrd="0" presId="urn:microsoft.com/office/officeart/2018/2/layout/IconLabelList"/>
    <dgm:cxn modelId="{3D605283-576B-C741-BB4F-BAB834322B46}" type="presParOf" srcId="{92A59B3B-430D-4403-B07D-9D84C5CBA1C9}" destId="{90829DA7-F8D8-4A8A-92C0-C8265F9D8F4C}" srcOrd="0" destOrd="0" presId="urn:microsoft.com/office/officeart/2018/2/layout/IconLabelList"/>
    <dgm:cxn modelId="{73B67D60-88AE-0543-A275-7AA0A9A94B90}" type="presParOf" srcId="{92A59B3B-430D-4403-B07D-9D84C5CBA1C9}" destId="{617C7F5D-63C6-4F59-97DC-C6C993865D04}" srcOrd="1" destOrd="0" presId="urn:microsoft.com/office/officeart/2018/2/layout/IconLabelList"/>
    <dgm:cxn modelId="{1ABED0EB-7852-AA46-ADE5-D7DEE1E253C6}" type="presParOf" srcId="{92A59B3B-430D-4403-B07D-9D84C5CBA1C9}" destId="{60BE1166-6AD2-44F7-BEA0-825282471865}" srcOrd="2" destOrd="0" presId="urn:microsoft.com/office/officeart/2018/2/layout/IconLabelList"/>
    <dgm:cxn modelId="{7000EE77-9356-F148-BAA5-B44966826389}" type="presParOf" srcId="{9554C8E9-89F9-44ED-AED1-DD2E65110643}" destId="{20CF243C-4831-4910-A13C-DD098293B2EE}" srcOrd="5" destOrd="0" presId="urn:microsoft.com/office/officeart/2018/2/layout/IconLabelList"/>
    <dgm:cxn modelId="{CD22AA29-805F-3A48-AFF4-02296C762BF4}" type="presParOf" srcId="{9554C8E9-89F9-44ED-AED1-DD2E65110643}" destId="{70A25893-7511-4A3E-A14E-A810F5D172EB}" srcOrd="6" destOrd="0" presId="urn:microsoft.com/office/officeart/2018/2/layout/IconLabelList"/>
    <dgm:cxn modelId="{BA5F396B-A788-204E-80A0-C3E60F5644F3}" type="presParOf" srcId="{70A25893-7511-4A3E-A14E-A810F5D172EB}" destId="{8B76417C-DB66-4E74-9208-4AEAAD43C7C8}" srcOrd="0" destOrd="0" presId="urn:microsoft.com/office/officeart/2018/2/layout/IconLabelList"/>
    <dgm:cxn modelId="{0548974C-3376-C448-BC97-FADC9F3878FE}" type="presParOf" srcId="{70A25893-7511-4A3E-A14E-A810F5D172EB}" destId="{95138F23-44A9-4FAC-AF9E-74CA77A94C91}" srcOrd="1" destOrd="0" presId="urn:microsoft.com/office/officeart/2018/2/layout/IconLabelList"/>
    <dgm:cxn modelId="{C4AFC89F-0C1C-3C45-9733-C29B7C565F48}" type="presParOf" srcId="{70A25893-7511-4A3E-A14E-A810F5D172EB}" destId="{5250F91D-CB5C-4DCE-891E-0B00A9EE2FD8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725299F-E3B2-432B-9097-7F8CF76BE3F6}" type="doc">
      <dgm:prSet loTypeId="urn:microsoft.com/office/officeart/2016/7/layout/RepeatingBendingProcessNew" loCatId="process" qsTypeId="urn:microsoft.com/office/officeart/2005/8/quickstyle/simple5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34E1DC2A-9DD4-4A1B-8F34-A5F7D04F2817}">
      <dgm:prSet/>
      <dgm:spPr/>
      <dgm:t>
        <a:bodyPr/>
        <a:lstStyle/>
        <a:p>
          <a:r>
            <a:rPr lang="fr-FR"/>
            <a:t>Évaluation rapide  post-introduction du HPV</a:t>
          </a:r>
          <a:endParaRPr lang="en-US"/>
        </a:p>
      </dgm:t>
    </dgm:pt>
    <dgm:pt modelId="{37DB4BE4-CF4C-4EF2-996E-97A975D52A88}" type="parTrans" cxnId="{DE39CA8C-3043-4235-B16A-9CE2A34EC4DA}">
      <dgm:prSet/>
      <dgm:spPr/>
      <dgm:t>
        <a:bodyPr/>
        <a:lstStyle/>
        <a:p>
          <a:endParaRPr lang="en-US"/>
        </a:p>
      </dgm:t>
    </dgm:pt>
    <dgm:pt modelId="{D9F8FBED-00B6-429B-81CB-D33B9BF9029F}" type="sibTrans" cxnId="{DE39CA8C-3043-4235-B16A-9CE2A34EC4DA}">
      <dgm:prSet/>
      <dgm:spPr/>
      <dgm:t>
        <a:bodyPr/>
        <a:lstStyle/>
        <a:p>
          <a:endParaRPr lang="en-US"/>
        </a:p>
      </dgm:t>
    </dgm:pt>
    <dgm:pt modelId="{1954310D-15FC-4E7F-8489-A2E948188B56}">
      <dgm:prSet/>
      <dgm:spPr/>
      <dgm:t>
        <a:bodyPr/>
        <a:lstStyle/>
        <a:p>
          <a:r>
            <a:rPr lang="fr-FR" dirty="0"/>
            <a:t>Auto-saisine du NITAG sur la question</a:t>
          </a:r>
          <a:endParaRPr lang="en-US" dirty="0"/>
        </a:p>
      </dgm:t>
    </dgm:pt>
    <dgm:pt modelId="{BD71EBB5-C36C-433B-AF0E-FBFE2F373CD1}" type="parTrans" cxnId="{67215C9C-654E-4A82-93CA-E80C3B1F7DF6}">
      <dgm:prSet/>
      <dgm:spPr/>
      <dgm:t>
        <a:bodyPr/>
        <a:lstStyle/>
        <a:p>
          <a:endParaRPr lang="en-US"/>
        </a:p>
      </dgm:t>
    </dgm:pt>
    <dgm:pt modelId="{EE348F2F-2DEA-4972-AE47-89FCCDC0B748}" type="sibTrans" cxnId="{67215C9C-654E-4A82-93CA-E80C3B1F7DF6}">
      <dgm:prSet/>
      <dgm:spPr/>
      <dgm:t>
        <a:bodyPr/>
        <a:lstStyle/>
        <a:p>
          <a:endParaRPr lang="en-US"/>
        </a:p>
      </dgm:t>
    </dgm:pt>
    <dgm:pt modelId="{84861EB7-5425-41AD-A8C9-0E944E4A4385}">
      <dgm:prSet/>
      <dgm:spPr/>
      <dgm:t>
        <a:bodyPr/>
        <a:lstStyle/>
        <a:p>
          <a:r>
            <a:rPr lang="fr-FR" dirty="0"/>
            <a:t>Recommandation du NITAG sur la vaccination non genré et passage à une seule dose</a:t>
          </a:r>
          <a:endParaRPr lang="en-US" dirty="0"/>
        </a:p>
      </dgm:t>
    </dgm:pt>
    <dgm:pt modelId="{CD8BA7B9-9E63-4668-9D91-56DC0FB544C4}" type="parTrans" cxnId="{47476858-BCF0-4D8C-99A9-E2E809DB63BC}">
      <dgm:prSet/>
      <dgm:spPr/>
      <dgm:t>
        <a:bodyPr/>
        <a:lstStyle/>
        <a:p>
          <a:endParaRPr lang="en-US"/>
        </a:p>
      </dgm:t>
    </dgm:pt>
    <dgm:pt modelId="{EE56D94C-01E5-4F44-A840-1C8DDC0A2103}" type="sibTrans" cxnId="{47476858-BCF0-4D8C-99A9-E2E809DB63BC}">
      <dgm:prSet/>
      <dgm:spPr/>
      <dgm:t>
        <a:bodyPr/>
        <a:lstStyle/>
        <a:p>
          <a:endParaRPr lang="en-US"/>
        </a:p>
      </dgm:t>
    </dgm:pt>
    <dgm:pt modelId="{91BDD53D-7F19-4416-9CF8-E6B5EDF90754}">
      <dgm:prSet/>
      <dgm:spPr/>
      <dgm:t>
        <a:bodyPr/>
        <a:lstStyle/>
        <a:p>
          <a:r>
            <a:rPr lang="fr-FR"/>
            <a:t>Achat des doses des vaccins pour les garçons</a:t>
          </a:r>
          <a:endParaRPr lang="en-US"/>
        </a:p>
      </dgm:t>
    </dgm:pt>
    <dgm:pt modelId="{00FD34D8-24B2-41B0-A2AB-28F62BBD5679}" type="parTrans" cxnId="{1367371E-04B7-4076-8BCD-16940D24B8C2}">
      <dgm:prSet/>
      <dgm:spPr/>
      <dgm:t>
        <a:bodyPr/>
        <a:lstStyle/>
        <a:p>
          <a:endParaRPr lang="en-US"/>
        </a:p>
      </dgm:t>
    </dgm:pt>
    <dgm:pt modelId="{D63E99DF-D8CD-4184-B731-97E8E447BD7E}" type="sibTrans" cxnId="{1367371E-04B7-4076-8BCD-16940D24B8C2}">
      <dgm:prSet/>
      <dgm:spPr/>
      <dgm:t>
        <a:bodyPr/>
        <a:lstStyle/>
        <a:p>
          <a:endParaRPr lang="en-US"/>
        </a:p>
      </dgm:t>
    </dgm:pt>
    <dgm:pt modelId="{9667FCB1-B320-4800-B8B3-C244E304BB17}">
      <dgm:prSet/>
      <dgm:spPr/>
      <dgm:t>
        <a:bodyPr/>
        <a:lstStyle/>
        <a:p>
          <a:r>
            <a:rPr lang="fr-FR"/>
            <a:t>Sessions de dialogues communautaire menée par les OSC en milieu jeune et auprès des leaders </a:t>
          </a:r>
          <a:endParaRPr lang="en-US"/>
        </a:p>
      </dgm:t>
    </dgm:pt>
    <dgm:pt modelId="{3E13C721-D3A7-4825-9A1F-C72628C70A16}" type="parTrans" cxnId="{49CF4A43-4F32-49F6-B58C-A5C048341741}">
      <dgm:prSet/>
      <dgm:spPr/>
      <dgm:t>
        <a:bodyPr/>
        <a:lstStyle/>
        <a:p>
          <a:endParaRPr lang="en-US"/>
        </a:p>
      </dgm:t>
    </dgm:pt>
    <dgm:pt modelId="{2AC46DF5-96A1-4777-B83B-5CC663AB259E}" type="sibTrans" cxnId="{49CF4A43-4F32-49F6-B58C-A5C048341741}">
      <dgm:prSet/>
      <dgm:spPr/>
      <dgm:t>
        <a:bodyPr/>
        <a:lstStyle/>
        <a:p>
          <a:endParaRPr lang="en-US"/>
        </a:p>
      </dgm:t>
    </dgm:pt>
    <dgm:pt modelId="{F7D3A57D-F59B-4E6F-8625-2A6E573833CD}">
      <dgm:prSet/>
      <dgm:spPr/>
      <dgm:t>
        <a:bodyPr/>
        <a:lstStyle/>
        <a:p>
          <a:r>
            <a:rPr lang="fr-FR"/>
            <a:t>Vaccination intensifiée des filles et garçons  avec hausse de couverture vaccinale chez les filles de 23 à 58% </a:t>
          </a:r>
          <a:endParaRPr lang="en-US"/>
        </a:p>
      </dgm:t>
    </dgm:pt>
    <dgm:pt modelId="{B00CCCBE-2A3C-47E0-AA71-2C0C09C2FD99}" type="parTrans" cxnId="{7C085F64-A346-4AD6-882A-3B9E3CD6F7CC}">
      <dgm:prSet/>
      <dgm:spPr/>
      <dgm:t>
        <a:bodyPr/>
        <a:lstStyle/>
        <a:p>
          <a:endParaRPr lang="en-US"/>
        </a:p>
      </dgm:t>
    </dgm:pt>
    <dgm:pt modelId="{CB22AEF1-26E3-4C75-9B49-24E7AB5B4720}" type="sibTrans" cxnId="{7C085F64-A346-4AD6-882A-3B9E3CD6F7CC}">
      <dgm:prSet/>
      <dgm:spPr/>
      <dgm:t>
        <a:bodyPr/>
        <a:lstStyle/>
        <a:p>
          <a:endParaRPr lang="en-US"/>
        </a:p>
      </dgm:t>
    </dgm:pt>
    <dgm:pt modelId="{348B5684-71FC-3C45-AECC-CF0A85E91D83}">
      <dgm:prSet/>
      <dgm:spPr/>
      <dgm:t>
        <a:bodyPr/>
        <a:lstStyle/>
        <a:p>
          <a:r>
            <a:rPr lang="fr-FR" dirty="0"/>
            <a:t>Approbation du changement par le CCIA</a:t>
          </a:r>
        </a:p>
      </dgm:t>
    </dgm:pt>
    <dgm:pt modelId="{CE99E52F-D590-D544-B767-776FA2F8166B}" type="parTrans" cxnId="{CE031E88-56CB-874A-A1C1-F56AF1A3645B}">
      <dgm:prSet/>
      <dgm:spPr/>
      <dgm:t>
        <a:bodyPr/>
        <a:lstStyle/>
        <a:p>
          <a:endParaRPr lang="fr-FR"/>
        </a:p>
      </dgm:t>
    </dgm:pt>
    <dgm:pt modelId="{0A56BD90-8C63-EA43-B264-CC8D7DC8EC74}" type="sibTrans" cxnId="{CE031E88-56CB-874A-A1C1-F56AF1A3645B}">
      <dgm:prSet/>
      <dgm:spPr/>
      <dgm:t>
        <a:bodyPr/>
        <a:lstStyle/>
        <a:p>
          <a:endParaRPr lang="fr-FR"/>
        </a:p>
      </dgm:t>
    </dgm:pt>
    <dgm:pt modelId="{43725CF6-33E7-9444-A25C-07629AF5BDC4}" type="pres">
      <dgm:prSet presAssocID="{F725299F-E3B2-432B-9097-7F8CF76BE3F6}" presName="Name0" presStyleCnt="0">
        <dgm:presLayoutVars>
          <dgm:dir/>
          <dgm:resizeHandles val="exact"/>
        </dgm:presLayoutVars>
      </dgm:prSet>
      <dgm:spPr/>
    </dgm:pt>
    <dgm:pt modelId="{661CB6D4-D6FC-E440-8167-8E05E89DCC6D}" type="pres">
      <dgm:prSet presAssocID="{34E1DC2A-9DD4-4A1B-8F34-A5F7D04F2817}" presName="node" presStyleLbl="node1" presStyleIdx="0" presStyleCnt="7">
        <dgm:presLayoutVars>
          <dgm:bulletEnabled val="1"/>
        </dgm:presLayoutVars>
      </dgm:prSet>
      <dgm:spPr/>
    </dgm:pt>
    <dgm:pt modelId="{6D3C61FD-BE30-4143-A2D9-AA566DE6899F}" type="pres">
      <dgm:prSet presAssocID="{D9F8FBED-00B6-429B-81CB-D33B9BF9029F}" presName="sibTrans" presStyleLbl="sibTrans1D1" presStyleIdx="0" presStyleCnt="6"/>
      <dgm:spPr/>
    </dgm:pt>
    <dgm:pt modelId="{A418684E-BEE6-3D46-8284-BDB284D9FF2D}" type="pres">
      <dgm:prSet presAssocID="{D9F8FBED-00B6-429B-81CB-D33B9BF9029F}" presName="connectorText" presStyleLbl="sibTrans1D1" presStyleIdx="0" presStyleCnt="6"/>
      <dgm:spPr/>
    </dgm:pt>
    <dgm:pt modelId="{744FB36B-973B-AB4D-87BE-3F2C51C3754B}" type="pres">
      <dgm:prSet presAssocID="{1954310D-15FC-4E7F-8489-A2E948188B56}" presName="node" presStyleLbl="node1" presStyleIdx="1" presStyleCnt="7">
        <dgm:presLayoutVars>
          <dgm:bulletEnabled val="1"/>
        </dgm:presLayoutVars>
      </dgm:prSet>
      <dgm:spPr/>
    </dgm:pt>
    <dgm:pt modelId="{E210C696-75D8-524D-A298-58A25AC3963C}" type="pres">
      <dgm:prSet presAssocID="{EE348F2F-2DEA-4972-AE47-89FCCDC0B748}" presName="sibTrans" presStyleLbl="sibTrans1D1" presStyleIdx="1" presStyleCnt="6"/>
      <dgm:spPr/>
    </dgm:pt>
    <dgm:pt modelId="{FFCA20F2-4412-274F-BE93-C6790095D329}" type="pres">
      <dgm:prSet presAssocID="{EE348F2F-2DEA-4972-AE47-89FCCDC0B748}" presName="connectorText" presStyleLbl="sibTrans1D1" presStyleIdx="1" presStyleCnt="6"/>
      <dgm:spPr/>
    </dgm:pt>
    <dgm:pt modelId="{FDE850C4-A962-724F-B280-52748C9480FF}" type="pres">
      <dgm:prSet presAssocID="{84861EB7-5425-41AD-A8C9-0E944E4A4385}" presName="node" presStyleLbl="node1" presStyleIdx="2" presStyleCnt="7">
        <dgm:presLayoutVars>
          <dgm:bulletEnabled val="1"/>
        </dgm:presLayoutVars>
      </dgm:prSet>
      <dgm:spPr/>
    </dgm:pt>
    <dgm:pt modelId="{64FB9E92-F71A-C04C-8B28-7B92CAC8D153}" type="pres">
      <dgm:prSet presAssocID="{EE56D94C-01E5-4F44-A840-1C8DDC0A2103}" presName="sibTrans" presStyleLbl="sibTrans1D1" presStyleIdx="2" presStyleCnt="6"/>
      <dgm:spPr/>
    </dgm:pt>
    <dgm:pt modelId="{4E81A1C2-86A7-1B40-9B0A-6A20CA2B8417}" type="pres">
      <dgm:prSet presAssocID="{EE56D94C-01E5-4F44-A840-1C8DDC0A2103}" presName="connectorText" presStyleLbl="sibTrans1D1" presStyleIdx="2" presStyleCnt="6"/>
      <dgm:spPr/>
    </dgm:pt>
    <dgm:pt modelId="{27392C8A-5FAC-2A49-8400-5E231647DD63}" type="pres">
      <dgm:prSet presAssocID="{348B5684-71FC-3C45-AECC-CF0A85E91D83}" presName="node" presStyleLbl="node1" presStyleIdx="3" presStyleCnt="7">
        <dgm:presLayoutVars>
          <dgm:bulletEnabled val="1"/>
        </dgm:presLayoutVars>
      </dgm:prSet>
      <dgm:spPr/>
    </dgm:pt>
    <dgm:pt modelId="{3C2CE8CB-45DB-284D-8571-FDD685A3CBCD}" type="pres">
      <dgm:prSet presAssocID="{0A56BD90-8C63-EA43-B264-CC8D7DC8EC74}" presName="sibTrans" presStyleLbl="sibTrans1D1" presStyleIdx="3" presStyleCnt="6"/>
      <dgm:spPr/>
    </dgm:pt>
    <dgm:pt modelId="{BBCCEC33-FCAB-374C-B57A-9988912FA59F}" type="pres">
      <dgm:prSet presAssocID="{0A56BD90-8C63-EA43-B264-CC8D7DC8EC74}" presName="connectorText" presStyleLbl="sibTrans1D1" presStyleIdx="3" presStyleCnt="6"/>
      <dgm:spPr/>
    </dgm:pt>
    <dgm:pt modelId="{C66A3562-0720-6D40-9FF6-489AC9C82B49}" type="pres">
      <dgm:prSet presAssocID="{91BDD53D-7F19-4416-9CF8-E6B5EDF90754}" presName="node" presStyleLbl="node1" presStyleIdx="4" presStyleCnt="7">
        <dgm:presLayoutVars>
          <dgm:bulletEnabled val="1"/>
        </dgm:presLayoutVars>
      </dgm:prSet>
      <dgm:spPr/>
    </dgm:pt>
    <dgm:pt modelId="{E0A90306-9F2D-9944-B830-B19ED0507527}" type="pres">
      <dgm:prSet presAssocID="{D63E99DF-D8CD-4184-B731-97E8E447BD7E}" presName="sibTrans" presStyleLbl="sibTrans1D1" presStyleIdx="4" presStyleCnt="6"/>
      <dgm:spPr/>
    </dgm:pt>
    <dgm:pt modelId="{3AFCD084-3A6E-1645-B37B-1A7FB82DF548}" type="pres">
      <dgm:prSet presAssocID="{D63E99DF-D8CD-4184-B731-97E8E447BD7E}" presName="connectorText" presStyleLbl="sibTrans1D1" presStyleIdx="4" presStyleCnt="6"/>
      <dgm:spPr/>
    </dgm:pt>
    <dgm:pt modelId="{9EBF2436-9967-3444-9887-AA3017C20C9F}" type="pres">
      <dgm:prSet presAssocID="{9667FCB1-B320-4800-B8B3-C244E304BB17}" presName="node" presStyleLbl="node1" presStyleIdx="5" presStyleCnt="7">
        <dgm:presLayoutVars>
          <dgm:bulletEnabled val="1"/>
        </dgm:presLayoutVars>
      </dgm:prSet>
      <dgm:spPr/>
    </dgm:pt>
    <dgm:pt modelId="{6B116B09-4923-A343-8D32-51DF2D48AAB7}" type="pres">
      <dgm:prSet presAssocID="{2AC46DF5-96A1-4777-B83B-5CC663AB259E}" presName="sibTrans" presStyleLbl="sibTrans1D1" presStyleIdx="5" presStyleCnt="6"/>
      <dgm:spPr/>
    </dgm:pt>
    <dgm:pt modelId="{1031ACBF-4EFC-7F4A-AFE7-0FD9339300BC}" type="pres">
      <dgm:prSet presAssocID="{2AC46DF5-96A1-4777-B83B-5CC663AB259E}" presName="connectorText" presStyleLbl="sibTrans1D1" presStyleIdx="5" presStyleCnt="6"/>
      <dgm:spPr/>
    </dgm:pt>
    <dgm:pt modelId="{02CDFE28-A718-B64E-947A-6FE62BBE5B7C}" type="pres">
      <dgm:prSet presAssocID="{F7D3A57D-F59B-4E6F-8625-2A6E573833CD}" presName="node" presStyleLbl="node1" presStyleIdx="6" presStyleCnt="7">
        <dgm:presLayoutVars>
          <dgm:bulletEnabled val="1"/>
        </dgm:presLayoutVars>
      </dgm:prSet>
      <dgm:spPr/>
    </dgm:pt>
  </dgm:ptLst>
  <dgm:cxnLst>
    <dgm:cxn modelId="{55493B05-23FE-6342-BCA5-7283DB5DE60B}" type="presOf" srcId="{0A56BD90-8C63-EA43-B264-CC8D7DC8EC74}" destId="{3C2CE8CB-45DB-284D-8571-FDD685A3CBCD}" srcOrd="0" destOrd="0" presId="urn:microsoft.com/office/officeart/2016/7/layout/RepeatingBendingProcessNew"/>
    <dgm:cxn modelId="{22B90C0B-DD08-1D47-B80D-ABCA1FF5E31F}" type="presOf" srcId="{EE56D94C-01E5-4F44-A840-1C8DDC0A2103}" destId="{64FB9E92-F71A-C04C-8B28-7B92CAC8D153}" srcOrd="0" destOrd="0" presId="urn:microsoft.com/office/officeart/2016/7/layout/RepeatingBendingProcessNew"/>
    <dgm:cxn modelId="{11E9C20C-70B2-634F-9E15-6B6A3F62DB42}" type="presOf" srcId="{9667FCB1-B320-4800-B8B3-C244E304BB17}" destId="{9EBF2436-9967-3444-9887-AA3017C20C9F}" srcOrd="0" destOrd="0" presId="urn:microsoft.com/office/officeart/2016/7/layout/RepeatingBendingProcessNew"/>
    <dgm:cxn modelId="{3B4FBB10-E63D-5E4F-BC50-8ADC0747B735}" type="presOf" srcId="{D9F8FBED-00B6-429B-81CB-D33B9BF9029F}" destId="{6D3C61FD-BE30-4143-A2D9-AA566DE6899F}" srcOrd="0" destOrd="0" presId="urn:microsoft.com/office/officeart/2016/7/layout/RepeatingBendingProcessNew"/>
    <dgm:cxn modelId="{5148CE18-EBDE-124D-AC92-7790389E03EE}" type="presOf" srcId="{91BDD53D-7F19-4416-9CF8-E6B5EDF90754}" destId="{C66A3562-0720-6D40-9FF6-489AC9C82B49}" srcOrd="0" destOrd="0" presId="urn:microsoft.com/office/officeart/2016/7/layout/RepeatingBendingProcessNew"/>
    <dgm:cxn modelId="{1367371E-04B7-4076-8BCD-16940D24B8C2}" srcId="{F725299F-E3B2-432B-9097-7F8CF76BE3F6}" destId="{91BDD53D-7F19-4416-9CF8-E6B5EDF90754}" srcOrd="4" destOrd="0" parTransId="{00FD34D8-24B2-41B0-A2AB-28F62BBD5679}" sibTransId="{D63E99DF-D8CD-4184-B731-97E8E447BD7E}"/>
    <dgm:cxn modelId="{E3C1D91F-5E17-3944-B404-876E24796187}" type="presOf" srcId="{34E1DC2A-9DD4-4A1B-8F34-A5F7D04F2817}" destId="{661CB6D4-D6FC-E440-8167-8E05E89DCC6D}" srcOrd="0" destOrd="0" presId="urn:microsoft.com/office/officeart/2016/7/layout/RepeatingBendingProcessNew"/>
    <dgm:cxn modelId="{DA317A34-7A2F-5A44-8274-29ADAE0CC972}" type="presOf" srcId="{D63E99DF-D8CD-4184-B731-97E8E447BD7E}" destId="{E0A90306-9F2D-9944-B830-B19ED0507527}" srcOrd="0" destOrd="0" presId="urn:microsoft.com/office/officeart/2016/7/layout/RepeatingBendingProcessNew"/>
    <dgm:cxn modelId="{6465783F-ECA9-9947-997F-9C3E72B11949}" type="presOf" srcId="{EE56D94C-01E5-4F44-A840-1C8DDC0A2103}" destId="{4E81A1C2-86A7-1B40-9B0A-6A20CA2B8417}" srcOrd="1" destOrd="0" presId="urn:microsoft.com/office/officeart/2016/7/layout/RepeatingBendingProcessNew"/>
    <dgm:cxn modelId="{49CF4A43-4F32-49F6-B58C-A5C048341741}" srcId="{F725299F-E3B2-432B-9097-7F8CF76BE3F6}" destId="{9667FCB1-B320-4800-B8B3-C244E304BB17}" srcOrd="5" destOrd="0" parTransId="{3E13C721-D3A7-4825-9A1F-C72628C70A16}" sibTransId="{2AC46DF5-96A1-4777-B83B-5CC663AB259E}"/>
    <dgm:cxn modelId="{47476858-BCF0-4D8C-99A9-E2E809DB63BC}" srcId="{F725299F-E3B2-432B-9097-7F8CF76BE3F6}" destId="{84861EB7-5425-41AD-A8C9-0E944E4A4385}" srcOrd="2" destOrd="0" parTransId="{CD8BA7B9-9E63-4668-9D91-56DC0FB544C4}" sibTransId="{EE56D94C-01E5-4F44-A840-1C8DDC0A2103}"/>
    <dgm:cxn modelId="{7C085F64-A346-4AD6-882A-3B9E3CD6F7CC}" srcId="{F725299F-E3B2-432B-9097-7F8CF76BE3F6}" destId="{F7D3A57D-F59B-4E6F-8625-2A6E573833CD}" srcOrd="6" destOrd="0" parTransId="{B00CCCBE-2A3C-47E0-AA71-2C0C09C2FD99}" sibTransId="{CB22AEF1-26E3-4C75-9B49-24E7AB5B4720}"/>
    <dgm:cxn modelId="{12545167-F836-1D41-B99E-5EE882D3DA27}" type="presOf" srcId="{348B5684-71FC-3C45-AECC-CF0A85E91D83}" destId="{27392C8A-5FAC-2A49-8400-5E231647DD63}" srcOrd="0" destOrd="0" presId="urn:microsoft.com/office/officeart/2016/7/layout/RepeatingBendingProcessNew"/>
    <dgm:cxn modelId="{37CAB671-BA46-2244-B686-3EDC8A9D38C4}" type="presOf" srcId="{F7D3A57D-F59B-4E6F-8625-2A6E573833CD}" destId="{02CDFE28-A718-B64E-947A-6FE62BBE5B7C}" srcOrd="0" destOrd="0" presId="urn:microsoft.com/office/officeart/2016/7/layout/RepeatingBendingProcessNew"/>
    <dgm:cxn modelId="{1E5C6580-B69B-0048-ABF4-F4BB5C5BDE88}" type="presOf" srcId="{2AC46DF5-96A1-4777-B83B-5CC663AB259E}" destId="{6B116B09-4923-A343-8D32-51DF2D48AAB7}" srcOrd="0" destOrd="0" presId="urn:microsoft.com/office/officeart/2016/7/layout/RepeatingBendingProcessNew"/>
    <dgm:cxn modelId="{CE031E88-56CB-874A-A1C1-F56AF1A3645B}" srcId="{F725299F-E3B2-432B-9097-7F8CF76BE3F6}" destId="{348B5684-71FC-3C45-AECC-CF0A85E91D83}" srcOrd="3" destOrd="0" parTransId="{CE99E52F-D590-D544-B767-776FA2F8166B}" sibTransId="{0A56BD90-8C63-EA43-B264-CC8D7DC8EC74}"/>
    <dgm:cxn modelId="{DE39CA8C-3043-4235-B16A-9CE2A34EC4DA}" srcId="{F725299F-E3B2-432B-9097-7F8CF76BE3F6}" destId="{34E1DC2A-9DD4-4A1B-8F34-A5F7D04F2817}" srcOrd="0" destOrd="0" parTransId="{37DB4BE4-CF4C-4EF2-996E-97A975D52A88}" sibTransId="{D9F8FBED-00B6-429B-81CB-D33B9BF9029F}"/>
    <dgm:cxn modelId="{6100318F-6602-1946-A9F2-A2A8D15B275A}" type="presOf" srcId="{F725299F-E3B2-432B-9097-7F8CF76BE3F6}" destId="{43725CF6-33E7-9444-A25C-07629AF5BDC4}" srcOrd="0" destOrd="0" presId="urn:microsoft.com/office/officeart/2016/7/layout/RepeatingBendingProcessNew"/>
    <dgm:cxn modelId="{7FADF892-41A0-BF47-B5D9-CA8C6CAE5898}" type="presOf" srcId="{0A56BD90-8C63-EA43-B264-CC8D7DC8EC74}" destId="{BBCCEC33-FCAB-374C-B57A-9988912FA59F}" srcOrd="1" destOrd="0" presId="urn:microsoft.com/office/officeart/2016/7/layout/RepeatingBendingProcessNew"/>
    <dgm:cxn modelId="{2BEF6799-3415-434C-85FB-E0CA9FD9E496}" type="presOf" srcId="{EE348F2F-2DEA-4972-AE47-89FCCDC0B748}" destId="{E210C696-75D8-524D-A298-58A25AC3963C}" srcOrd="0" destOrd="0" presId="urn:microsoft.com/office/officeart/2016/7/layout/RepeatingBendingProcessNew"/>
    <dgm:cxn modelId="{67215C9C-654E-4A82-93CA-E80C3B1F7DF6}" srcId="{F725299F-E3B2-432B-9097-7F8CF76BE3F6}" destId="{1954310D-15FC-4E7F-8489-A2E948188B56}" srcOrd="1" destOrd="0" parTransId="{BD71EBB5-C36C-433B-AF0E-FBFE2F373CD1}" sibTransId="{EE348F2F-2DEA-4972-AE47-89FCCDC0B748}"/>
    <dgm:cxn modelId="{BAED30A6-CF05-A743-8F69-3B5B89E3F8EB}" type="presOf" srcId="{1954310D-15FC-4E7F-8489-A2E948188B56}" destId="{744FB36B-973B-AB4D-87BE-3F2C51C3754B}" srcOrd="0" destOrd="0" presId="urn:microsoft.com/office/officeart/2016/7/layout/RepeatingBendingProcessNew"/>
    <dgm:cxn modelId="{10841AB5-4E41-C748-B481-B398E2C3BA6A}" type="presOf" srcId="{2AC46DF5-96A1-4777-B83B-5CC663AB259E}" destId="{1031ACBF-4EFC-7F4A-AFE7-0FD9339300BC}" srcOrd="1" destOrd="0" presId="urn:microsoft.com/office/officeart/2016/7/layout/RepeatingBendingProcessNew"/>
    <dgm:cxn modelId="{59575FB5-44C9-3A4B-9445-C2FD7C914934}" type="presOf" srcId="{D9F8FBED-00B6-429B-81CB-D33B9BF9029F}" destId="{A418684E-BEE6-3D46-8284-BDB284D9FF2D}" srcOrd="1" destOrd="0" presId="urn:microsoft.com/office/officeart/2016/7/layout/RepeatingBendingProcessNew"/>
    <dgm:cxn modelId="{A51BA2B8-7484-F049-953B-2635D37B357A}" type="presOf" srcId="{EE348F2F-2DEA-4972-AE47-89FCCDC0B748}" destId="{FFCA20F2-4412-274F-BE93-C6790095D329}" srcOrd="1" destOrd="0" presId="urn:microsoft.com/office/officeart/2016/7/layout/RepeatingBendingProcessNew"/>
    <dgm:cxn modelId="{77303CBA-C2F0-A84E-AF10-985D6D2BDBCD}" type="presOf" srcId="{84861EB7-5425-41AD-A8C9-0E944E4A4385}" destId="{FDE850C4-A962-724F-B280-52748C9480FF}" srcOrd="0" destOrd="0" presId="urn:microsoft.com/office/officeart/2016/7/layout/RepeatingBendingProcessNew"/>
    <dgm:cxn modelId="{EE0B99D5-4C8C-8D48-BFD2-FC4652E138A9}" type="presOf" srcId="{D63E99DF-D8CD-4184-B731-97E8E447BD7E}" destId="{3AFCD084-3A6E-1645-B37B-1A7FB82DF548}" srcOrd="1" destOrd="0" presId="urn:microsoft.com/office/officeart/2016/7/layout/RepeatingBendingProcessNew"/>
    <dgm:cxn modelId="{49699CEA-2F05-4F46-8559-D86A0CADE0A8}" type="presParOf" srcId="{43725CF6-33E7-9444-A25C-07629AF5BDC4}" destId="{661CB6D4-D6FC-E440-8167-8E05E89DCC6D}" srcOrd="0" destOrd="0" presId="urn:microsoft.com/office/officeart/2016/7/layout/RepeatingBendingProcessNew"/>
    <dgm:cxn modelId="{56E81F40-29AF-144D-B7D3-C3D6A36F189E}" type="presParOf" srcId="{43725CF6-33E7-9444-A25C-07629AF5BDC4}" destId="{6D3C61FD-BE30-4143-A2D9-AA566DE6899F}" srcOrd="1" destOrd="0" presId="urn:microsoft.com/office/officeart/2016/7/layout/RepeatingBendingProcessNew"/>
    <dgm:cxn modelId="{866EB478-39D9-3F4E-94CB-8A529DBD2780}" type="presParOf" srcId="{6D3C61FD-BE30-4143-A2D9-AA566DE6899F}" destId="{A418684E-BEE6-3D46-8284-BDB284D9FF2D}" srcOrd="0" destOrd="0" presId="urn:microsoft.com/office/officeart/2016/7/layout/RepeatingBendingProcessNew"/>
    <dgm:cxn modelId="{E51AA801-2259-B04E-91B3-04ACC95FB87A}" type="presParOf" srcId="{43725CF6-33E7-9444-A25C-07629AF5BDC4}" destId="{744FB36B-973B-AB4D-87BE-3F2C51C3754B}" srcOrd="2" destOrd="0" presId="urn:microsoft.com/office/officeart/2016/7/layout/RepeatingBendingProcessNew"/>
    <dgm:cxn modelId="{AFD2A3D4-3D05-D04B-ACDF-AE846615EB0F}" type="presParOf" srcId="{43725CF6-33E7-9444-A25C-07629AF5BDC4}" destId="{E210C696-75D8-524D-A298-58A25AC3963C}" srcOrd="3" destOrd="0" presId="urn:microsoft.com/office/officeart/2016/7/layout/RepeatingBendingProcessNew"/>
    <dgm:cxn modelId="{00BC426D-8BE8-7248-8869-C9B3A79D3AB0}" type="presParOf" srcId="{E210C696-75D8-524D-A298-58A25AC3963C}" destId="{FFCA20F2-4412-274F-BE93-C6790095D329}" srcOrd="0" destOrd="0" presId="urn:microsoft.com/office/officeart/2016/7/layout/RepeatingBendingProcessNew"/>
    <dgm:cxn modelId="{F7EBE303-2F17-FD48-80D4-DE483AF93EB8}" type="presParOf" srcId="{43725CF6-33E7-9444-A25C-07629AF5BDC4}" destId="{FDE850C4-A962-724F-B280-52748C9480FF}" srcOrd="4" destOrd="0" presId="urn:microsoft.com/office/officeart/2016/7/layout/RepeatingBendingProcessNew"/>
    <dgm:cxn modelId="{1CDDD93C-77F6-554A-81C5-FAC557E87E32}" type="presParOf" srcId="{43725CF6-33E7-9444-A25C-07629AF5BDC4}" destId="{64FB9E92-F71A-C04C-8B28-7B92CAC8D153}" srcOrd="5" destOrd="0" presId="urn:microsoft.com/office/officeart/2016/7/layout/RepeatingBendingProcessNew"/>
    <dgm:cxn modelId="{341A8241-980F-0E48-91FC-558DED93D05C}" type="presParOf" srcId="{64FB9E92-F71A-C04C-8B28-7B92CAC8D153}" destId="{4E81A1C2-86A7-1B40-9B0A-6A20CA2B8417}" srcOrd="0" destOrd="0" presId="urn:microsoft.com/office/officeart/2016/7/layout/RepeatingBendingProcessNew"/>
    <dgm:cxn modelId="{68B92B14-F975-5A4B-AB69-3572DD67AC68}" type="presParOf" srcId="{43725CF6-33E7-9444-A25C-07629AF5BDC4}" destId="{27392C8A-5FAC-2A49-8400-5E231647DD63}" srcOrd="6" destOrd="0" presId="urn:microsoft.com/office/officeart/2016/7/layout/RepeatingBendingProcessNew"/>
    <dgm:cxn modelId="{5F72059A-A80D-4F4A-90CE-BDE349550A32}" type="presParOf" srcId="{43725CF6-33E7-9444-A25C-07629AF5BDC4}" destId="{3C2CE8CB-45DB-284D-8571-FDD685A3CBCD}" srcOrd="7" destOrd="0" presId="urn:microsoft.com/office/officeart/2016/7/layout/RepeatingBendingProcessNew"/>
    <dgm:cxn modelId="{B134419E-7E18-3242-9052-0A792E21D40B}" type="presParOf" srcId="{3C2CE8CB-45DB-284D-8571-FDD685A3CBCD}" destId="{BBCCEC33-FCAB-374C-B57A-9988912FA59F}" srcOrd="0" destOrd="0" presId="urn:microsoft.com/office/officeart/2016/7/layout/RepeatingBendingProcessNew"/>
    <dgm:cxn modelId="{E0CB5E18-8B4C-BE4A-AB20-E70A26132DBE}" type="presParOf" srcId="{43725CF6-33E7-9444-A25C-07629AF5BDC4}" destId="{C66A3562-0720-6D40-9FF6-489AC9C82B49}" srcOrd="8" destOrd="0" presId="urn:microsoft.com/office/officeart/2016/7/layout/RepeatingBendingProcessNew"/>
    <dgm:cxn modelId="{3BD6C3C7-FFD7-324A-877E-AD82864A230C}" type="presParOf" srcId="{43725CF6-33E7-9444-A25C-07629AF5BDC4}" destId="{E0A90306-9F2D-9944-B830-B19ED0507527}" srcOrd="9" destOrd="0" presId="urn:microsoft.com/office/officeart/2016/7/layout/RepeatingBendingProcessNew"/>
    <dgm:cxn modelId="{98676387-36D8-A145-B822-30DAEE1D4D79}" type="presParOf" srcId="{E0A90306-9F2D-9944-B830-B19ED0507527}" destId="{3AFCD084-3A6E-1645-B37B-1A7FB82DF548}" srcOrd="0" destOrd="0" presId="urn:microsoft.com/office/officeart/2016/7/layout/RepeatingBendingProcessNew"/>
    <dgm:cxn modelId="{A7E6B49B-0665-954F-B685-1BB4E5926B5E}" type="presParOf" srcId="{43725CF6-33E7-9444-A25C-07629AF5BDC4}" destId="{9EBF2436-9967-3444-9887-AA3017C20C9F}" srcOrd="10" destOrd="0" presId="urn:microsoft.com/office/officeart/2016/7/layout/RepeatingBendingProcessNew"/>
    <dgm:cxn modelId="{5E9CFF3B-676A-DA41-9755-0D779A32E931}" type="presParOf" srcId="{43725CF6-33E7-9444-A25C-07629AF5BDC4}" destId="{6B116B09-4923-A343-8D32-51DF2D48AAB7}" srcOrd="11" destOrd="0" presId="urn:microsoft.com/office/officeart/2016/7/layout/RepeatingBendingProcessNew"/>
    <dgm:cxn modelId="{907F5EC5-6DCB-D64B-A50C-35A5081ED821}" type="presParOf" srcId="{6B116B09-4923-A343-8D32-51DF2D48AAB7}" destId="{1031ACBF-4EFC-7F4A-AFE7-0FD9339300BC}" srcOrd="0" destOrd="0" presId="urn:microsoft.com/office/officeart/2016/7/layout/RepeatingBendingProcessNew"/>
    <dgm:cxn modelId="{EF5EF319-C5FA-1044-BEF0-BF3B7AC94ACD}" type="presParOf" srcId="{43725CF6-33E7-9444-A25C-07629AF5BDC4}" destId="{02CDFE28-A718-B64E-947A-6FE62BBE5B7C}" srcOrd="12" destOrd="0" presId="urn:microsoft.com/office/officeart/2016/7/layout/RepeatingBendingProcessNew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182695-0423-4E23-ABC2-81101A0A483B}">
      <dsp:nvSpPr>
        <dsp:cNvPr id="0" name=""/>
        <dsp:cNvSpPr/>
      </dsp:nvSpPr>
      <dsp:spPr>
        <a:xfrm>
          <a:off x="1138979" y="1203549"/>
          <a:ext cx="932563" cy="93256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AF9E5D8-EBAF-4C80-9C14-716C42B64BCA}">
      <dsp:nvSpPr>
        <dsp:cNvPr id="0" name=""/>
        <dsp:cNvSpPr/>
      </dsp:nvSpPr>
      <dsp:spPr>
        <a:xfrm>
          <a:off x="569079" y="2427788"/>
          <a:ext cx="2072362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100" b="1" kern="1200" noProof="0" dirty="0"/>
            <a:t>Justification</a:t>
          </a:r>
        </a:p>
      </dsp:txBody>
      <dsp:txXfrm>
        <a:off x="569079" y="2427788"/>
        <a:ext cx="2072362" cy="720000"/>
      </dsp:txXfrm>
    </dsp:sp>
    <dsp:sp modelId="{2E00FEE1-85F8-A244-B8F3-4A96B06DC562}">
      <dsp:nvSpPr>
        <dsp:cNvPr id="0" name=""/>
        <dsp:cNvSpPr/>
      </dsp:nvSpPr>
      <dsp:spPr>
        <a:xfrm>
          <a:off x="3574005" y="1203549"/>
          <a:ext cx="932563" cy="932563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919CAC4-D16E-A84F-B8F2-28903AA59074}">
      <dsp:nvSpPr>
        <dsp:cNvPr id="0" name=""/>
        <dsp:cNvSpPr/>
      </dsp:nvSpPr>
      <dsp:spPr>
        <a:xfrm>
          <a:off x="3004105" y="2427788"/>
          <a:ext cx="2072362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 dirty="0"/>
            <a:t>Qu’est-ce le pays a fait dans la thématique</a:t>
          </a:r>
          <a:endParaRPr lang="en-US" sz="1100" b="1" kern="1200" noProof="0" dirty="0"/>
        </a:p>
      </dsp:txBody>
      <dsp:txXfrm>
        <a:off x="3004105" y="2427788"/>
        <a:ext cx="2072362" cy="720000"/>
      </dsp:txXfrm>
    </dsp:sp>
    <dsp:sp modelId="{90829DA7-F8D8-4A8A-92C0-C8265F9D8F4C}">
      <dsp:nvSpPr>
        <dsp:cNvPr id="0" name=""/>
        <dsp:cNvSpPr/>
      </dsp:nvSpPr>
      <dsp:spPr>
        <a:xfrm>
          <a:off x="6009031" y="1203549"/>
          <a:ext cx="932563" cy="932563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0BE1166-6AD2-44F7-BEA0-825282471865}">
      <dsp:nvSpPr>
        <dsp:cNvPr id="0" name=""/>
        <dsp:cNvSpPr/>
      </dsp:nvSpPr>
      <dsp:spPr>
        <a:xfrm>
          <a:off x="5439131" y="2427788"/>
          <a:ext cx="2072362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 dirty="0"/>
            <a:t>Qu’est ce qui a bien marché et qu’est ce qui nécessiterai d’être amélioré</a:t>
          </a:r>
          <a:endParaRPr lang="en-US" sz="1100" b="1" kern="1200" noProof="0" dirty="0"/>
        </a:p>
      </dsp:txBody>
      <dsp:txXfrm>
        <a:off x="5439131" y="2427788"/>
        <a:ext cx="2072362" cy="720000"/>
      </dsp:txXfrm>
    </dsp:sp>
    <dsp:sp modelId="{8B76417C-DB66-4E74-9208-4AEAAD43C7C8}">
      <dsp:nvSpPr>
        <dsp:cNvPr id="0" name=""/>
        <dsp:cNvSpPr/>
      </dsp:nvSpPr>
      <dsp:spPr>
        <a:xfrm>
          <a:off x="8444057" y="1203549"/>
          <a:ext cx="932563" cy="932563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250F91D-CB5C-4DCE-891E-0B00A9EE2FD8}">
      <dsp:nvSpPr>
        <dsp:cNvPr id="0" name=""/>
        <dsp:cNvSpPr/>
      </dsp:nvSpPr>
      <dsp:spPr>
        <a:xfrm>
          <a:off x="7874157" y="2427788"/>
          <a:ext cx="2072362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100" b="1" kern="1200" dirty="0"/>
            <a:t>Quelles leçons tirées de l’expérience et quelles recommandations aux autres pays </a:t>
          </a:r>
          <a:endParaRPr lang="en-US" sz="1100" b="1" kern="1200" noProof="0" dirty="0"/>
        </a:p>
      </dsp:txBody>
      <dsp:txXfrm>
        <a:off x="7874157" y="2427788"/>
        <a:ext cx="2072362" cy="7200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D3C61FD-BE30-4143-A2D9-AA566DE6899F}">
      <dsp:nvSpPr>
        <dsp:cNvPr id="0" name=""/>
        <dsp:cNvSpPr/>
      </dsp:nvSpPr>
      <dsp:spPr>
        <a:xfrm>
          <a:off x="2342775" y="1451565"/>
          <a:ext cx="50814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08149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583381" y="1494591"/>
        <a:ext cx="26937" cy="5387"/>
      </dsp:txXfrm>
    </dsp:sp>
    <dsp:sp modelId="{661CB6D4-D6FC-E440-8167-8E05E89DCC6D}">
      <dsp:nvSpPr>
        <dsp:cNvPr id="0" name=""/>
        <dsp:cNvSpPr/>
      </dsp:nvSpPr>
      <dsp:spPr>
        <a:xfrm>
          <a:off x="2186" y="794568"/>
          <a:ext cx="2342389" cy="1405433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779" tIns="120481" rIns="114779" bIns="120481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/>
            <a:t>Évaluation rapide  post-introduction du HPV</a:t>
          </a:r>
          <a:endParaRPr lang="en-US" sz="1600" kern="1200"/>
        </a:p>
      </dsp:txBody>
      <dsp:txXfrm>
        <a:off x="2186" y="794568"/>
        <a:ext cx="2342389" cy="1405433"/>
      </dsp:txXfrm>
    </dsp:sp>
    <dsp:sp modelId="{E210C696-75D8-524D-A298-58A25AC3963C}">
      <dsp:nvSpPr>
        <dsp:cNvPr id="0" name=""/>
        <dsp:cNvSpPr/>
      </dsp:nvSpPr>
      <dsp:spPr>
        <a:xfrm>
          <a:off x="5223914" y="1451565"/>
          <a:ext cx="50814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08149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64520" y="1494591"/>
        <a:ext cx="26937" cy="5387"/>
      </dsp:txXfrm>
    </dsp:sp>
    <dsp:sp modelId="{744FB36B-973B-AB4D-87BE-3F2C51C3754B}">
      <dsp:nvSpPr>
        <dsp:cNvPr id="0" name=""/>
        <dsp:cNvSpPr/>
      </dsp:nvSpPr>
      <dsp:spPr>
        <a:xfrm>
          <a:off x="2883325" y="794568"/>
          <a:ext cx="2342389" cy="1405433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779" tIns="120481" rIns="114779" bIns="120481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 dirty="0"/>
            <a:t>Auto-saisine du NITAG sur la question</a:t>
          </a:r>
          <a:endParaRPr lang="en-US" sz="1600" kern="1200" dirty="0"/>
        </a:p>
      </dsp:txBody>
      <dsp:txXfrm>
        <a:off x="2883325" y="794568"/>
        <a:ext cx="2342389" cy="1405433"/>
      </dsp:txXfrm>
    </dsp:sp>
    <dsp:sp modelId="{64FB9E92-F71A-C04C-8B28-7B92CAC8D153}">
      <dsp:nvSpPr>
        <dsp:cNvPr id="0" name=""/>
        <dsp:cNvSpPr/>
      </dsp:nvSpPr>
      <dsp:spPr>
        <a:xfrm>
          <a:off x="8105052" y="1451565"/>
          <a:ext cx="50814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08149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8345658" y="1494591"/>
        <a:ext cx="26937" cy="5387"/>
      </dsp:txXfrm>
    </dsp:sp>
    <dsp:sp modelId="{FDE850C4-A962-724F-B280-52748C9480FF}">
      <dsp:nvSpPr>
        <dsp:cNvPr id="0" name=""/>
        <dsp:cNvSpPr/>
      </dsp:nvSpPr>
      <dsp:spPr>
        <a:xfrm>
          <a:off x="5764463" y="794568"/>
          <a:ext cx="2342389" cy="1405433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779" tIns="120481" rIns="114779" bIns="120481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 dirty="0"/>
            <a:t>Recommandation du NITAG sur la vaccination non genré et passage à une seule dose</a:t>
          </a:r>
          <a:endParaRPr lang="en-US" sz="1600" kern="1200" dirty="0"/>
        </a:p>
      </dsp:txBody>
      <dsp:txXfrm>
        <a:off x="5764463" y="794568"/>
        <a:ext cx="2342389" cy="1405433"/>
      </dsp:txXfrm>
    </dsp:sp>
    <dsp:sp modelId="{3C2CE8CB-45DB-284D-8571-FDD685A3CBCD}">
      <dsp:nvSpPr>
        <dsp:cNvPr id="0" name=""/>
        <dsp:cNvSpPr/>
      </dsp:nvSpPr>
      <dsp:spPr>
        <a:xfrm>
          <a:off x="1173381" y="2198201"/>
          <a:ext cx="8643415" cy="508149"/>
        </a:xfrm>
        <a:custGeom>
          <a:avLst/>
          <a:gdLst/>
          <a:ahLst/>
          <a:cxnLst/>
          <a:rect l="0" t="0" r="0" b="0"/>
          <a:pathLst>
            <a:path>
              <a:moveTo>
                <a:pt x="8643415" y="0"/>
              </a:moveTo>
              <a:lnTo>
                <a:pt x="8643415" y="271174"/>
              </a:lnTo>
              <a:lnTo>
                <a:pt x="0" y="271174"/>
              </a:lnTo>
              <a:lnTo>
                <a:pt x="0" y="508149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fr-FR" sz="500" kern="1200"/>
        </a:p>
      </dsp:txBody>
      <dsp:txXfrm>
        <a:off x="5278584" y="2449582"/>
        <a:ext cx="433009" cy="5387"/>
      </dsp:txXfrm>
    </dsp:sp>
    <dsp:sp modelId="{27392C8A-5FAC-2A49-8400-5E231647DD63}">
      <dsp:nvSpPr>
        <dsp:cNvPr id="0" name=""/>
        <dsp:cNvSpPr/>
      </dsp:nvSpPr>
      <dsp:spPr>
        <a:xfrm>
          <a:off x="8645602" y="794568"/>
          <a:ext cx="2342389" cy="1405433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779" tIns="120481" rIns="114779" bIns="120481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 dirty="0"/>
            <a:t>Approbation du changement par le CCIA</a:t>
          </a:r>
        </a:p>
      </dsp:txBody>
      <dsp:txXfrm>
        <a:off x="8645602" y="794568"/>
        <a:ext cx="2342389" cy="1405433"/>
      </dsp:txXfrm>
    </dsp:sp>
    <dsp:sp modelId="{E0A90306-9F2D-9944-B830-B19ED0507527}">
      <dsp:nvSpPr>
        <dsp:cNvPr id="0" name=""/>
        <dsp:cNvSpPr/>
      </dsp:nvSpPr>
      <dsp:spPr>
        <a:xfrm>
          <a:off x="2342775" y="3395747"/>
          <a:ext cx="50814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08149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2583381" y="3438774"/>
        <a:ext cx="26937" cy="5387"/>
      </dsp:txXfrm>
    </dsp:sp>
    <dsp:sp modelId="{C66A3562-0720-6D40-9FF6-489AC9C82B49}">
      <dsp:nvSpPr>
        <dsp:cNvPr id="0" name=""/>
        <dsp:cNvSpPr/>
      </dsp:nvSpPr>
      <dsp:spPr>
        <a:xfrm>
          <a:off x="2186" y="2738751"/>
          <a:ext cx="2342389" cy="1405433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779" tIns="120481" rIns="114779" bIns="120481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/>
            <a:t>Achat des doses des vaccins pour les garçons</a:t>
          </a:r>
          <a:endParaRPr lang="en-US" sz="1600" kern="1200"/>
        </a:p>
      </dsp:txBody>
      <dsp:txXfrm>
        <a:off x="2186" y="2738751"/>
        <a:ext cx="2342389" cy="1405433"/>
      </dsp:txXfrm>
    </dsp:sp>
    <dsp:sp modelId="{6B116B09-4923-A343-8D32-51DF2D48AAB7}">
      <dsp:nvSpPr>
        <dsp:cNvPr id="0" name=""/>
        <dsp:cNvSpPr/>
      </dsp:nvSpPr>
      <dsp:spPr>
        <a:xfrm>
          <a:off x="5223914" y="3395747"/>
          <a:ext cx="508149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08149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5464520" y="3438774"/>
        <a:ext cx="26937" cy="5387"/>
      </dsp:txXfrm>
    </dsp:sp>
    <dsp:sp modelId="{9EBF2436-9967-3444-9887-AA3017C20C9F}">
      <dsp:nvSpPr>
        <dsp:cNvPr id="0" name=""/>
        <dsp:cNvSpPr/>
      </dsp:nvSpPr>
      <dsp:spPr>
        <a:xfrm>
          <a:off x="2883325" y="2738751"/>
          <a:ext cx="2342389" cy="1405433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779" tIns="120481" rIns="114779" bIns="120481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/>
            <a:t>Sessions de dialogues communautaire menée par les OSC en milieu jeune et auprès des leaders </a:t>
          </a:r>
          <a:endParaRPr lang="en-US" sz="1600" kern="1200"/>
        </a:p>
      </dsp:txBody>
      <dsp:txXfrm>
        <a:off x="2883325" y="2738751"/>
        <a:ext cx="2342389" cy="1405433"/>
      </dsp:txXfrm>
    </dsp:sp>
    <dsp:sp modelId="{02CDFE28-A718-B64E-947A-6FE62BBE5B7C}">
      <dsp:nvSpPr>
        <dsp:cNvPr id="0" name=""/>
        <dsp:cNvSpPr/>
      </dsp:nvSpPr>
      <dsp:spPr>
        <a:xfrm>
          <a:off x="5764463" y="2738751"/>
          <a:ext cx="2342389" cy="1405433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779" tIns="120481" rIns="114779" bIns="120481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/>
            <a:t>Vaccination intensifiée des filles et garçons  avec hausse de couverture vaccinale chez les filles de 23 à 58% </a:t>
          </a:r>
          <a:endParaRPr lang="en-US" sz="1600" kern="1200"/>
        </a:p>
      </dsp:txBody>
      <dsp:txXfrm>
        <a:off x="5764463" y="2738751"/>
        <a:ext cx="2342389" cy="14054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6/7/layout/RepeatingBendingProcessNew">
  <dgm:title val="Repeating Bending Process New"/>
  <dgm:desc val=""/>
  <dgm:catLst>
    <dgm:cat type="process" pri="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  <dgm:constr type="tMarg" refType="h" fact="0.243"/>
          <dgm:constr type="bMarg" refType="h" fact="0.243"/>
          <dgm:constr type="lMarg" refType="w" fact="0.1389"/>
          <dgm:constr type="rMarg" refType="w" fact="0.1389"/>
        </dgm:constrLst>
        <dgm:ruleLst>
          <dgm:rule type="primFontSz" val="12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C90142-0A7E-1A41-A1C6-3CD1AC1F240C}" type="datetimeFigureOut">
              <a:rPr lang="fr-FR" smtClean="0"/>
              <a:t>09/09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2C0C65-E41B-6849-9C9A-D8E7B5AE42C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662726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M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2C0C65-E41B-6849-9C9A-D8E7B5AE42C5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848662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M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2C0C65-E41B-6849-9C9A-D8E7B5AE42C5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16678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M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2C0C65-E41B-6849-9C9A-D8E7B5AE42C5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12044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M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2C0C65-E41B-6849-9C9A-D8E7B5AE42C5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36479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5.png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microsoft.com/office/2007/relationships/hdphoto" Target="../media/hdphoto2.wdp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microsoft.com/office/2007/relationships/hdphoto" Target="../media/hdphoto2.wdp"/><Relationship Id="rId4" Type="http://schemas.openxmlformats.org/officeDocument/2006/relationships/image" Target="../media/image9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Pictur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Image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5988"/>
            <a:ext cx="12192000" cy="7005479"/>
          </a:xfrm>
          <a:prstGeom prst="rect">
            <a:avLst/>
          </a:prstGeom>
          <a:gradFill>
            <a:gsLst>
              <a:gs pos="7000">
                <a:schemeClr val="accent1"/>
              </a:gs>
              <a:gs pos="31000">
                <a:srgbClr val="0070C0"/>
              </a:gs>
              <a:gs pos="76000">
                <a:schemeClr val="accent2"/>
              </a:gs>
              <a:gs pos="49000">
                <a:schemeClr val="accent2"/>
              </a:gs>
            </a:gsLst>
            <a:lin ang="16200000" scaled="1"/>
          </a:gradFill>
        </p:spPr>
      </p:pic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974400"/>
            <a:ext cx="6384000" cy="2232000"/>
          </a:xfrm>
        </p:spPr>
        <p:txBody>
          <a:bodyPr anchor="b" anchorCtr="0"/>
          <a:lstStyle>
            <a:lvl1pPr marL="0" indent="0" algn="l">
              <a:lnSpc>
                <a:spcPct val="90000"/>
              </a:lnSpc>
              <a:buNone/>
              <a:defRPr sz="3733" b="1" cap="none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/>
              <a:t>TITLE</a:t>
            </a:r>
          </a:p>
        </p:txBody>
      </p:sp>
      <p:sp>
        <p:nvSpPr>
          <p:cNvPr id="8" name="Espace réservé du texte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72000" y="3585600"/>
            <a:ext cx="6384000" cy="1479600"/>
          </a:xfrm>
        </p:spPr>
        <p:txBody>
          <a:bodyPr anchor="t" anchorCtr="0"/>
          <a:lstStyle>
            <a:lvl1pPr marL="0" indent="0" algn="l">
              <a:lnSpc>
                <a:spcPct val="90000"/>
              </a:lnSpc>
              <a:buNone/>
              <a:defRPr sz="2667" b="0" baseline="0">
                <a:solidFill>
                  <a:schemeClr val="accent2">
                    <a:lumMod val="40000"/>
                    <a:lumOff val="6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algn="ctr">
              <a:lnSpc>
                <a:spcPct val="100000"/>
              </a:lnSpc>
              <a:spcBef>
                <a:spcPts val="9200"/>
              </a:spcBef>
              <a:defRPr sz="2667"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GB" noProof="0" dirty="0"/>
              <a:t>SUBTITLE</a:t>
            </a:r>
          </a:p>
        </p:txBody>
      </p:sp>
      <p:pic>
        <p:nvPicPr>
          <p:cNvPr id="3" name="Object 1">
            <a:extLst>
              <a:ext uri="{FF2B5EF4-FFF2-40B4-BE49-F238E27FC236}">
                <a16:creationId xmlns:a16="http://schemas.microsoft.com/office/drawing/2014/main" id="{B660FBB5-8613-A389-C5A1-853A89F0147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9983" b="99957" l="637" r="98553">
                        <a14:foregroundMark x1="231" y1="91406" x2="7030" y2="91488"/>
                        <a14:foregroundMark x1="43798" y1="82641" x2="75579" y2="72917"/>
                        <a14:foregroundMark x1="75579" y1="72917" x2="84375" y2="74826"/>
                        <a14:foregroundMark x1="84375" y1="74826" x2="92361" y2="81641"/>
                        <a14:foregroundMark x1="92361" y1="81641" x2="96644" y2="94748"/>
                        <a14:foregroundMark x1="96644" y1="94748" x2="97049" y2="99957"/>
                        <a14:foregroundMark x1="64873" y1="72049" x2="86053" y2="71267"/>
                        <a14:foregroundMark x1="86053" y1="71267" x2="94676" y2="73611"/>
                        <a14:foregroundMark x1="94676" y1="73611" x2="98611" y2="80165"/>
                        <a14:foregroundMark x1="3299" y1="97222" x2="637" y2="92578"/>
                        <a14:foregroundMark x1="42998" y1="83290" x2="40799" y2="84852"/>
                        <a14:foregroundMark x1="7523" y1="92969" x2="15914" y2="93359"/>
                        <a14:foregroundMark x1="15914" y1="93359" x2="21817" y2="92188"/>
                        <a14:foregroundMark x1="7292" y1="91797" x2="13252" y2="92578"/>
                        <a14:backgroundMark x1="40270" y1="84530" x2="11384" y2="91658"/>
                        <a14:backgroundMark x1="40698" y1="83916" x2="39294" y2="84071"/>
                        <a14:backgroundMark x1="43461" y1="81337" x2="40567" y2="83681"/>
                        <a14:backgroundMark x1="43229" y1="80946" x2="42679" y2="8309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" y="-65989"/>
            <a:ext cx="12191996" cy="7005479"/>
          </a:xfrm>
          <a:prstGeom prst="rect">
            <a:avLst/>
          </a:prstGeom>
        </p:spPr>
      </p:pic>
      <p:sp>
        <p:nvSpPr>
          <p:cNvPr id="6" name="Espace réservé pour une image  5">
            <a:extLst>
              <a:ext uri="{FF2B5EF4-FFF2-40B4-BE49-F238E27FC236}">
                <a16:creationId xmlns:a16="http://schemas.microsoft.com/office/drawing/2014/main" id="{32B6EAF1-ED98-C8B5-16DA-49378852B4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225748" y="1"/>
            <a:ext cx="4871158" cy="4679352"/>
          </a:xfrm>
          <a:prstGeom prst="teardrop">
            <a:avLst/>
          </a:prstGeom>
          <a:solidFill>
            <a:srgbClr val="A7A7A7"/>
          </a:solidFill>
        </p:spPr>
        <p:txBody>
          <a:bodyPr/>
          <a:lstStyle/>
          <a:p>
            <a:endParaRPr lang="fr-FR" dirty="0"/>
          </a:p>
        </p:txBody>
      </p:sp>
      <p:pic>
        <p:nvPicPr>
          <p:cNvPr id="2" name="Image 1" descr="Une image contenant objets métalliques, matériel&#10;&#10;Description générée automatiquement">
            <a:extLst>
              <a:ext uri="{FF2B5EF4-FFF2-40B4-BE49-F238E27FC236}">
                <a16:creationId xmlns:a16="http://schemas.microsoft.com/office/drawing/2014/main" id="{415879BB-AF68-7113-293D-6CBCD24B3CC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duotone>
              <a:prstClr val="black"/>
              <a:schemeClr val="accent2">
                <a:tint val="45000"/>
                <a:satMod val="400000"/>
              </a:schemeClr>
            </a:duotone>
            <a:alphaModFix amt="20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5094" y="19422"/>
            <a:ext cx="5407942" cy="6505955"/>
          </a:xfrm>
          <a:prstGeom prst="rect">
            <a:avLst/>
          </a:prstGeom>
        </p:spPr>
      </p:pic>
      <p:pic>
        <p:nvPicPr>
          <p:cNvPr id="10" name="Image 9" descr="Une image contenant clipart, Graphique, illustration, conception&#10;&#10;Description générée automatiquement">
            <a:extLst>
              <a:ext uri="{FF2B5EF4-FFF2-40B4-BE49-F238E27FC236}">
                <a16:creationId xmlns:a16="http://schemas.microsoft.com/office/drawing/2014/main" id="{1C72DEDD-BB84-264A-07E5-513F7A253F9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638105" y="5216190"/>
            <a:ext cx="1078550" cy="1221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7735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606287" cy="757864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904972" y="105421"/>
            <a:ext cx="11118521" cy="627243"/>
          </a:xfrm>
        </p:spPr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904972" y="1073242"/>
            <a:ext cx="11118521" cy="5176730"/>
          </a:xfrm>
        </p:spPr>
        <p:txBody>
          <a:bodyPr/>
          <a:lstStyle/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6"/>
          </p:nvPr>
        </p:nvSpPr>
        <p:spPr bwMode="gray">
          <a:xfrm>
            <a:off x="11625007" y="6526388"/>
            <a:ext cx="469583" cy="226191"/>
          </a:xfrm>
        </p:spPr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N°›</a:t>
            </a:fld>
            <a:endParaRPr lang="en-GB" noProof="0" dirty="0"/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904972" y="857233"/>
            <a:ext cx="1414021" cy="45719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pic>
        <p:nvPicPr>
          <p:cNvPr id="3" name="Image 2" descr="Une image contenant objets métalliques, matériel&#10;&#10;Description générée automatiquement">
            <a:extLst>
              <a:ext uri="{FF2B5EF4-FFF2-40B4-BE49-F238E27FC236}">
                <a16:creationId xmlns:a16="http://schemas.microsoft.com/office/drawing/2014/main" id="{D9340FFD-7D05-FBBD-CBC2-A372F1CC3BA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alphaModFix amt="8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  <a14:imgEffect>
                      <a14:sharpenSoften amount="50000"/>
                    </a14:imgEffect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613236" y="757865"/>
            <a:ext cx="5985164" cy="6266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2127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&amp;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37C0CE44-E23E-130E-D50D-60A88EE475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608074" cy="757864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608074" y="146107"/>
            <a:ext cx="11195349" cy="609569"/>
          </a:xfrm>
        </p:spPr>
        <p:txBody>
          <a:bodyPr/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4807670" y="1086700"/>
            <a:ext cx="6995753" cy="510166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</p:txBody>
      </p:sp>
      <p:sp>
        <p:nvSpPr>
          <p:cNvPr id="9" name="Espace réservé pour une image  8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608074" y="1090082"/>
            <a:ext cx="4078225" cy="5154163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GB" noProof="0"/>
              <a:t>Select your own photo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N°›</a:t>
            </a:fld>
            <a:endParaRPr lang="en-GB" noProof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F833F22-D1B8-AA29-05AE-4F7EDA62FDFB}"/>
              </a:ext>
            </a:extLst>
          </p:cNvPr>
          <p:cNvSpPr/>
          <p:nvPr userDrawn="1"/>
        </p:nvSpPr>
        <p:spPr bwMode="gray">
          <a:xfrm>
            <a:off x="608074" y="832506"/>
            <a:ext cx="1414021" cy="45719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pic>
        <p:nvPicPr>
          <p:cNvPr id="5" name="Image 4" descr="Une image contenant objets métalliques, matériel&#10;&#10;Description générée automatiquement">
            <a:extLst>
              <a:ext uri="{FF2B5EF4-FFF2-40B4-BE49-F238E27FC236}">
                <a16:creationId xmlns:a16="http://schemas.microsoft.com/office/drawing/2014/main" id="{AE136028-B0AB-87FF-6C28-F4152AFEAA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alphaModFix amt="8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  <a14:imgEffect>
                      <a14:sharpenSoften amount="50000"/>
                    </a14:imgEffect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538258" y="2907215"/>
            <a:ext cx="3653742" cy="3825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1248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8362" y="1037940"/>
            <a:ext cx="3362673" cy="5223266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/>
              <a:t>Text level 1</a:t>
            </a:r>
          </a:p>
          <a:p>
            <a:pPr lvl="1"/>
            <a:r>
              <a:rPr lang="en-GB" noProof="0"/>
              <a:t>Text level 2</a:t>
            </a:r>
          </a:p>
          <a:p>
            <a:pPr lvl="2"/>
            <a:r>
              <a:rPr lang="en-GB" noProof="0"/>
              <a:t>Text level 3</a:t>
            </a:r>
          </a:p>
          <a:p>
            <a:pPr lvl="3"/>
            <a:r>
              <a:rPr lang="en-GB" noProof="0"/>
              <a:t>Text level 4</a:t>
            </a:r>
          </a:p>
          <a:p>
            <a:pPr lvl="4"/>
            <a:r>
              <a:rPr lang="en-GB" noProof="0"/>
              <a:t>Text level 5</a:t>
            </a:r>
          </a:p>
        </p:txBody>
      </p:sp>
      <p:sp>
        <p:nvSpPr>
          <p:cNvPr id="8" name="Espace réservé du numéro de diapositive 7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N°›</a:t>
            </a:fld>
            <a:endParaRPr lang="en-GB" noProof="0"/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4319950" y="990601"/>
            <a:ext cx="3362674" cy="531632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4" name="Espace réservé du contenu 2">
            <a:extLst>
              <a:ext uri="{FF2B5EF4-FFF2-40B4-BE49-F238E27FC236}">
                <a16:creationId xmlns:a16="http://schemas.microsoft.com/office/drawing/2014/main" id="{422D5BC7-F21D-9708-EADC-C1385927D800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gray">
          <a:xfrm>
            <a:off x="8150964" y="990601"/>
            <a:ext cx="3362674" cy="531632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  <a:p>
            <a:pPr lvl="3"/>
            <a:r>
              <a:rPr lang="en-GB" noProof="0" dirty="0"/>
              <a:t>Text level 4</a:t>
            </a:r>
          </a:p>
          <a:p>
            <a:pPr lvl="4"/>
            <a:r>
              <a:rPr lang="en-GB" noProof="0" dirty="0"/>
              <a:t>Text level 5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BC4221B-65ED-4B19-DFDE-39D857682426}"/>
              </a:ext>
            </a:extLst>
          </p:cNvPr>
          <p:cNvSpPr/>
          <p:nvPr userDrawn="1"/>
        </p:nvSpPr>
        <p:spPr bwMode="gray">
          <a:xfrm>
            <a:off x="672000" y="774385"/>
            <a:ext cx="1414021" cy="45719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4CCAF4F2-005C-53E6-1C8B-16BBE8ABDD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6521"/>
            <a:ext cx="672000" cy="757864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678362" y="217251"/>
            <a:ext cx="10841638" cy="516175"/>
          </a:xfrm>
        </p:spPr>
        <p:txBody>
          <a:bodyPr/>
          <a:lstStyle/>
          <a:p>
            <a:r>
              <a:rPr lang="en-GB" noProof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6258367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Content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3074BDAD-D4A8-20EB-3E70-77DF62ECE0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672000" cy="757864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2000" y="3466755"/>
            <a:ext cx="10848000" cy="2496671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2000" y="1177399"/>
            <a:ext cx="10848000" cy="2059693"/>
          </a:xfrm>
        </p:spPr>
        <p:txBody>
          <a:bodyPr lIns="0">
            <a:noAutofit/>
          </a:bodyPr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N°›</a:t>
            </a:fld>
            <a:endParaRPr lang="en-GB" noProof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672000" y="190349"/>
            <a:ext cx="10864300" cy="60956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pic>
        <p:nvPicPr>
          <p:cNvPr id="4" name="Image 3" descr="Une image contenant objets métalliques, matériel&#10;&#10;Description générée automatiquement">
            <a:extLst>
              <a:ext uri="{FF2B5EF4-FFF2-40B4-BE49-F238E27FC236}">
                <a16:creationId xmlns:a16="http://schemas.microsoft.com/office/drawing/2014/main" id="{A160BFEF-5711-3F31-9257-29ABF21CE7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alphaModFix amt="8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  <a14:imgEffect>
                      <a14:sharpenSoften amount="50000"/>
                    </a14:imgEffect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725845" y="378932"/>
            <a:ext cx="6430529" cy="673257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61B2896-C61A-9213-4106-3E7286C0E4FD}"/>
              </a:ext>
            </a:extLst>
          </p:cNvPr>
          <p:cNvSpPr/>
          <p:nvPr userDrawn="1"/>
        </p:nvSpPr>
        <p:spPr bwMode="gray">
          <a:xfrm>
            <a:off x="672000" y="1029581"/>
            <a:ext cx="1414021" cy="45719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</p:spTree>
    <p:extLst>
      <p:ext uri="{BB962C8B-B14F-4D97-AF65-F5344CB8AC3E}">
        <p14:creationId xmlns:p14="http://schemas.microsoft.com/office/powerpoint/2010/main" val="578917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&amp;Content&amp;Picture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1359A936-1EF7-2FF1-D6F0-2D94E11569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357"/>
            <a:ext cx="671998" cy="757864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671998" y="240584"/>
            <a:ext cx="6384967" cy="536149"/>
          </a:xfrm>
        </p:spPr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671999" y="3307201"/>
            <a:ext cx="6384967" cy="2498817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1999" y="1016883"/>
            <a:ext cx="6384967" cy="2050168"/>
          </a:xfrm>
        </p:spPr>
        <p:txBody>
          <a:bodyPr/>
          <a:lstStyle/>
          <a:p>
            <a:pPr lvl="0"/>
            <a:r>
              <a:rPr lang="en-GB" noProof="0" dirty="0"/>
              <a:t>Text level 1</a:t>
            </a:r>
          </a:p>
          <a:p>
            <a:pPr lvl="1"/>
            <a:r>
              <a:rPr lang="en-GB" noProof="0" dirty="0"/>
              <a:t>Text level 2</a:t>
            </a:r>
          </a:p>
          <a:p>
            <a:pPr lvl="2"/>
            <a:r>
              <a:rPr lang="en-GB" noProof="0" dirty="0"/>
              <a:t>Text level 3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N°›</a:t>
            </a:fld>
            <a:endParaRPr lang="en-GB" noProof="0"/>
          </a:p>
        </p:txBody>
      </p:sp>
      <p:sp>
        <p:nvSpPr>
          <p:cNvPr id="12" name="Espace réservé pour une image 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7680176" y="753401"/>
            <a:ext cx="3839824" cy="5014516"/>
          </a:xfrm>
        </p:spPr>
        <p:txBody>
          <a:bodyPr tIns="1008000" anchor="ctr" anchorCtr="0"/>
          <a:lstStyle>
            <a:lvl1pPr algn="ctr">
              <a:defRPr/>
            </a:lvl1pPr>
          </a:lstStyle>
          <a:p>
            <a:r>
              <a:rPr lang="en-GB" noProof="0"/>
              <a:t>Select your own photo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0C42013-3E65-8BF9-09E9-3CE200ECFD9A}"/>
              </a:ext>
            </a:extLst>
          </p:cNvPr>
          <p:cNvSpPr/>
          <p:nvPr userDrawn="1"/>
        </p:nvSpPr>
        <p:spPr bwMode="gray">
          <a:xfrm>
            <a:off x="671998" y="873948"/>
            <a:ext cx="1414021" cy="45719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</p:spTree>
    <p:extLst>
      <p:ext uri="{BB962C8B-B14F-4D97-AF65-F5344CB8AC3E}">
        <p14:creationId xmlns:p14="http://schemas.microsoft.com/office/powerpoint/2010/main" val="13501982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ocks_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>
            <a:extLst>
              <a:ext uri="{FF2B5EF4-FFF2-40B4-BE49-F238E27FC236}">
                <a16:creationId xmlns:a16="http://schemas.microsoft.com/office/drawing/2014/main" id="{5B191BF9-1999-2A34-A4B3-5ACE1BD3AF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671999" cy="757864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GB" noProof="0"/>
              <a:t>TITLE</a:t>
            </a: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/>
          <a:p>
            <a:pPr algn="l"/>
            <a:fld id="{733122C9-A0B9-462F-8757-0847AD287B63}" type="slidenum">
              <a:rPr lang="en-GB" noProof="0" smtClean="0"/>
              <a:pPr algn="l"/>
              <a:t>‹N°›</a:t>
            </a:fld>
            <a:endParaRPr lang="en-GB" noProof="0"/>
          </a:p>
        </p:txBody>
      </p:sp>
      <p:sp>
        <p:nvSpPr>
          <p:cNvPr id="21" name="Espace réservé du texte 9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72001" y="1197720"/>
            <a:ext cx="5119201" cy="334231"/>
          </a:xfrm>
          <a:solidFill>
            <a:srgbClr val="009639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Text level 1</a:t>
            </a:r>
          </a:p>
        </p:txBody>
      </p:sp>
      <p:sp>
        <p:nvSpPr>
          <p:cNvPr id="22" name="Espace réservé du texte 9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72000" y="1531951"/>
            <a:ext cx="5119202" cy="4461343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rgbClr val="005A70"/>
                </a:solidFill>
              </a:defRPr>
            </a:lvl1pPr>
            <a:lvl2pPr marL="671983">
              <a:buClr>
                <a:schemeClr val="tx1"/>
              </a:buClr>
              <a:defRPr sz="2133" b="0">
                <a:solidFill>
                  <a:srgbClr val="005A70"/>
                </a:solidFill>
              </a:defRPr>
            </a:lvl2pPr>
            <a:lvl3pPr indent="0">
              <a:buNone/>
              <a:defRPr>
                <a:solidFill>
                  <a:srgbClr val="005A70"/>
                </a:solidFill>
              </a:defRPr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>
                <a:solidFill>
                  <a:srgbClr val="005A70"/>
                </a:solidFill>
              </a:defRPr>
            </a:lvl4pPr>
          </a:lstStyle>
          <a:p>
            <a:pPr lvl="0"/>
            <a:r>
              <a:rPr lang="en-GB" noProof="0" dirty="0"/>
              <a:t>Text level 2</a:t>
            </a:r>
          </a:p>
          <a:p>
            <a:pPr lvl="1"/>
            <a:r>
              <a:rPr lang="en-GB" noProof="0" dirty="0"/>
              <a:t>Text level 3</a:t>
            </a:r>
          </a:p>
          <a:p>
            <a:pPr lvl="2"/>
            <a:r>
              <a:rPr lang="en-GB" noProof="0" dirty="0"/>
              <a:t>Text level 4</a:t>
            </a:r>
          </a:p>
          <a:p>
            <a:pPr lvl="3"/>
            <a:r>
              <a:rPr lang="en-GB" noProof="0" dirty="0"/>
              <a:t>Text level 5</a:t>
            </a:r>
          </a:p>
        </p:txBody>
      </p:sp>
      <p:sp>
        <p:nvSpPr>
          <p:cNvPr id="23" name="Espace réservé du texte 9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400799" y="1196236"/>
            <a:ext cx="5224208" cy="335715"/>
          </a:xfrm>
          <a:solidFill>
            <a:schemeClr val="accent6"/>
          </a:solidFill>
          <a:ln w="9525">
            <a:solidFill>
              <a:schemeClr val="bg2"/>
            </a:solidFill>
          </a:ln>
        </p:spPr>
        <p:txBody>
          <a:bodyPr anchor="ctr" anchorCtr="0"/>
          <a:lstStyle>
            <a:lvl1pPr algn="ctr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Text level 1</a:t>
            </a:r>
          </a:p>
        </p:txBody>
      </p:sp>
      <p:sp>
        <p:nvSpPr>
          <p:cNvPr id="24" name="Espace réservé du texte 9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400799" y="1531951"/>
            <a:ext cx="5224207" cy="4461345"/>
          </a:xfrm>
          <a:ln w="9525">
            <a:solidFill>
              <a:schemeClr val="bg2"/>
            </a:solidFill>
          </a:ln>
        </p:spPr>
        <p:txBody>
          <a:bodyPr tIns="72000"/>
          <a:lstStyle>
            <a:lvl1pPr marL="431989" indent="-239994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Arial" pitchFamily="34" charset="0"/>
              <a:buChar char="•"/>
              <a:defRPr sz="2400">
                <a:solidFill>
                  <a:schemeClr val="accent6">
                    <a:lumMod val="75000"/>
                  </a:schemeClr>
                </a:solidFill>
              </a:defRPr>
            </a:lvl1pPr>
            <a:lvl2pPr marL="671983">
              <a:buClr>
                <a:schemeClr val="tx1"/>
              </a:buClr>
              <a:defRPr sz="2133" b="0">
                <a:solidFill>
                  <a:schemeClr val="accent6">
                    <a:lumMod val="75000"/>
                  </a:schemeClr>
                </a:solidFill>
              </a:defRPr>
            </a:lvl2pPr>
            <a:lvl3pPr indent="0">
              <a:buNone/>
              <a:defRPr>
                <a:solidFill>
                  <a:schemeClr val="accent6">
                    <a:lumMod val="75000"/>
                  </a:schemeClr>
                </a:solidFill>
              </a:defRPr>
            </a:lvl3pPr>
            <a:lvl4pPr marL="911977" indent="-239994">
              <a:buClr>
                <a:schemeClr val="tx1"/>
              </a:buClr>
              <a:buFont typeface="Arial" pitchFamily="34" charset="0"/>
              <a:buChar char="•"/>
              <a:defRPr sz="1867">
                <a:solidFill>
                  <a:schemeClr val="accent6">
                    <a:lumMod val="75000"/>
                  </a:schemeClr>
                </a:solidFill>
              </a:defRPr>
            </a:lvl4pPr>
          </a:lstStyle>
          <a:p>
            <a:pPr lvl="0"/>
            <a:r>
              <a:rPr lang="en-GB" noProof="0" dirty="0"/>
              <a:t>Text level 2</a:t>
            </a:r>
          </a:p>
          <a:p>
            <a:pPr lvl="1"/>
            <a:r>
              <a:rPr lang="en-GB" noProof="0" dirty="0"/>
              <a:t>Text level 3</a:t>
            </a:r>
          </a:p>
          <a:p>
            <a:pPr lvl="2"/>
            <a:r>
              <a:rPr lang="en-GB" noProof="0" dirty="0"/>
              <a:t>Text level 4</a:t>
            </a:r>
          </a:p>
          <a:p>
            <a:pPr lvl="3"/>
            <a:r>
              <a:rPr lang="en-GB" noProof="0" dirty="0"/>
              <a:t>Text level 5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C21E8B0-A41A-BD54-4DA4-010A91310CF3}"/>
              </a:ext>
            </a:extLst>
          </p:cNvPr>
          <p:cNvSpPr/>
          <p:nvPr userDrawn="1"/>
        </p:nvSpPr>
        <p:spPr bwMode="gray">
          <a:xfrm>
            <a:off x="655699" y="938143"/>
            <a:ext cx="1414021" cy="45719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</p:spTree>
    <p:extLst>
      <p:ext uri="{BB962C8B-B14F-4D97-AF65-F5344CB8AC3E}">
        <p14:creationId xmlns:p14="http://schemas.microsoft.com/office/powerpoint/2010/main" val="34471804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 descr="Une image contenant objets métalliques, matériel&#10;&#10;Description générée automatiquement">
            <a:extLst>
              <a:ext uri="{FF2B5EF4-FFF2-40B4-BE49-F238E27FC236}">
                <a16:creationId xmlns:a16="http://schemas.microsoft.com/office/drawing/2014/main" id="{F5560190-9D5D-D9CA-B85A-AA88E078B9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alphaModFix amt="8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  <a14:imgEffect>
                      <a14:sharpenSoften amount="50000"/>
                    </a14:imgEffect>
                    <a14:imgEffect>
                      <a14:brightnessContrast brigh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641674" y="-155853"/>
            <a:ext cx="6396267" cy="6696706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E939C525-E43E-56EC-E2BF-45A490E7AD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686" y="155853"/>
            <a:ext cx="11680466" cy="599521"/>
          </a:xfrm>
        </p:spPr>
        <p:txBody>
          <a:bodyPr/>
          <a:lstStyle>
            <a:lvl1pPr>
              <a:defRPr b="1">
                <a:solidFill>
                  <a:srgbClr val="002060"/>
                </a:solidFill>
                <a:latin typeface="+mn-lt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57AFCD31-1EB2-1201-9A47-96CBB88365D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685" y="928314"/>
            <a:ext cx="11680465" cy="5130579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  <a:latin typeface="+mn-lt"/>
              </a:defRPr>
            </a:lvl1pPr>
            <a:lvl2pPr>
              <a:defRPr>
                <a:solidFill>
                  <a:schemeClr val="accent1">
                    <a:lumMod val="75000"/>
                  </a:schemeClr>
                </a:solidFill>
                <a:latin typeface="+mn-lt"/>
              </a:defRPr>
            </a:lvl2pPr>
            <a:lvl3pPr>
              <a:defRPr>
                <a:solidFill>
                  <a:schemeClr val="accent1">
                    <a:lumMod val="75000"/>
                  </a:schemeClr>
                </a:solidFill>
                <a:latin typeface="+mn-lt"/>
              </a:defRPr>
            </a:lvl3pPr>
            <a:lvl4pPr>
              <a:defRPr>
                <a:solidFill>
                  <a:schemeClr val="accent1">
                    <a:lumMod val="75000"/>
                  </a:schemeClr>
                </a:solidFill>
                <a:latin typeface="+mn-lt"/>
              </a:defRPr>
            </a:lvl4pPr>
            <a:lvl5pPr>
              <a:defRPr>
                <a:solidFill>
                  <a:schemeClr val="accent1">
                    <a:lumMod val="7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E868AFA-9511-8AB6-F5B6-E85564386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50" b="1">
                <a:solidFill>
                  <a:srgbClr val="FFC000"/>
                </a:solidFill>
              </a:defRPr>
            </a:lvl1pPr>
          </a:lstStyle>
          <a:p>
            <a:fld id="{31926C06-7B81-A449-8A9E-FA2C54DC00E5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21C6DBF-66A9-4E1A-7679-9533FE4D1B11}"/>
              </a:ext>
            </a:extLst>
          </p:cNvPr>
          <p:cNvSpPr/>
          <p:nvPr userDrawn="1"/>
        </p:nvSpPr>
        <p:spPr bwMode="gray">
          <a:xfrm>
            <a:off x="214685" y="818984"/>
            <a:ext cx="1414021" cy="45719"/>
          </a:xfrm>
          <a:prstGeom prst="rect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/>
          </a:p>
        </p:txBody>
      </p:sp>
    </p:spTree>
    <p:extLst>
      <p:ext uri="{BB962C8B-B14F-4D97-AF65-F5344CB8AC3E}">
        <p14:creationId xmlns:p14="http://schemas.microsoft.com/office/powerpoint/2010/main" val="36038828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ject 1">
            <a:extLst>
              <a:ext uri="{FF2B5EF4-FFF2-40B4-BE49-F238E27FC236}">
                <a16:creationId xmlns:a16="http://schemas.microsoft.com/office/drawing/2014/main" id="{D493AEBB-EEAD-DF85-6880-EA5E77A125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983" b="99957" l="637" r="98553">
                        <a14:foregroundMark x1="231" y1="91406" x2="7030" y2="91488"/>
                        <a14:foregroundMark x1="43798" y1="82641" x2="75579" y2="72917"/>
                        <a14:foregroundMark x1="75579" y1="72917" x2="84375" y2="74826"/>
                        <a14:foregroundMark x1="84375" y1="74826" x2="92361" y2="81641"/>
                        <a14:foregroundMark x1="92361" y1="81641" x2="96644" y2="94748"/>
                        <a14:foregroundMark x1="96644" y1="94748" x2="97049" y2="99957"/>
                        <a14:foregroundMark x1="64873" y1="72049" x2="86053" y2="71267"/>
                        <a14:foregroundMark x1="86053" y1="71267" x2="94676" y2="73611"/>
                        <a14:foregroundMark x1="94676" y1="73611" x2="98611" y2="80165"/>
                        <a14:foregroundMark x1="3299" y1="97222" x2="637" y2="92578"/>
                        <a14:foregroundMark x1="42998" y1="83290" x2="40799" y2="84852"/>
                        <a14:foregroundMark x1="7523" y1="92969" x2="15914" y2="93359"/>
                        <a14:foregroundMark x1="15914" y1="93359" x2="21817" y2="92188"/>
                        <a14:foregroundMark x1="7292" y1="91797" x2="13252" y2="92578"/>
                        <a14:backgroundMark x1="40270" y1="84530" x2="11384" y2="91658"/>
                        <a14:backgroundMark x1="40698" y1="83916" x2="39294" y2="84071"/>
                        <a14:backgroundMark x1="43461" y1="81337" x2="40567" y2="83681"/>
                        <a14:backgroundMark x1="43229" y1="80946" x2="42679" y2="8309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-42614"/>
            <a:ext cx="12192000" cy="6943227"/>
          </a:xfrm>
          <a:prstGeom prst="rect">
            <a:avLst/>
          </a:prstGeom>
          <a:gradFill>
            <a:gsLst>
              <a:gs pos="2000">
                <a:srgbClr val="00B0F0"/>
              </a:gs>
              <a:gs pos="58000">
                <a:srgbClr val="0070C0"/>
              </a:gs>
            </a:gsLst>
            <a:lin ang="16200000" scaled="1"/>
          </a:gradFill>
        </p:spPr>
      </p:pic>
      <p:pic>
        <p:nvPicPr>
          <p:cNvPr id="21" name="Image 20" descr="Une image contenant objets métalliques, matériel&#10;&#10;Description générée automatiquement">
            <a:extLst>
              <a:ext uri="{FF2B5EF4-FFF2-40B4-BE49-F238E27FC236}">
                <a16:creationId xmlns:a16="http://schemas.microsoft.com/office/drawing/2014/main" id="{F5560190-9D5D-D9CA-B85A-AA88E078B9F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20000"/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449019" y="-42614"/>
            <a:ext cx="5417160" cy="6517042"/>
          </a:xfrm>
          <a:prstGeom prst="rect">
            <a:avLst/>
          </a:prstGeom>
        </p:spPr>
      </p:pic>
      <p:pic>
        <p:nvPicPr>
          <p:cNvPr id="11" name="Image 10" descr="Une image contenant texte&#10;&#10;Description générée automatiquement">
            <a:extLst>
              <a:ext uri="{FF2B5EF4-FFF2-40B4-BE49-F238E27FC236}">
                <a16:creationId xmlns:a16="http://schemas.microsoft.com/office/drawing/2014/main" id="{B173E603-92B5-F5F9-0242-1CCA1573E3B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85000"/>
          </a:blip>
          <a:stretch>
            <a:fillRect/>
          </a:stretch>
        </p:blipFill>
        <p:spPr>
          <a:xfrm>
            <a:off x="10092446" y="6008376"/>
            <a:ext cx="1537835" cy="679145"/>
          </a:xfrm>
          <a:prstGeom prst="rect">
            <a:avLst/>
          </a:prstGeom>
        </p:spPr>
      </p:pic>
      <p:sp>
        <p:nvSpPr>
          <p:cNvPr id="4" name="Espace réservé pour une image  5">
            <a:extLst>
              <a:ext uri="{FF2B5EF4-FFF2-40B4-BE49-F238E27FC236}">
                <a16:creationId xmlns:a16="http://schemas.microsoft.com/office/drawing/2014/main" id="{74FB866C-0B89-6789-8D25-CD3B0A46747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 rot="456935" flipH="1">
            <a:off x="1146685" y="1120898"/>
            <a:ext cx="4539930" cy="4935521"/>
          </a:xfrm>
          <a:prstGeom prst="teardrop">
            <a:avLst>
              <a:gd name="adj" fmla="val 126862"/>
            </a:avLst>
          </a:prstGeom>
          <a:solidFill>
            <a:srgbClr val="A7A7A7"/>
          </a:solidFill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009205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microsoft.com/office/2007/relationships/hdphoto" Target="../media/hdphoto1.wdp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17" Type="http://schemas.openxmlformats.org/officeDocument/2006/relationships/hyperlink" Target="http://www.pevcameroon.cm/" TargetMode="Externa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1">
            <a:extLst>
              <a:ext uri="{FF2B5EF4-FFF2-40B4-BE49-F238E27FC236}">
                <a16:creationId xmlns:a16="http://schemas.microsoft.com/office/drawing/2014/main" id="{87C2546B-1701-EC0E-AAE5-6B0ED6D831EE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9983" b="99957" l="637" r="98553">
                        <a14:foregroundMark x1="231" y1="91406" x2="7030" y2="91488"/>
                        <a14:foregroundMark x1="43798" y1="82641" x2="75579" y2="72917"/>
                        <a14:foregroundMark x1="75579" y1="72917" x2="84375" y2="74826"/>
                        <a14:foregroundMark x1="84375" y1="74826" x2="92361" y2="81641"/>
                        <a14:foregroundMark x1="92361" y1="81641" x2="96644" y2="94748"/>
                        <a14:foregroundMark x1="96644" y1="94748" x2="97049" y2="99957"/>
                        <a14:foregroundMark x1="64873" y1="72049" x2="86053" y2="71267"/>
                        <a14:foregroundMark x1="86053" y1="71267" x2="94676" y2="73611"/>
                        <a14:foregroundMark x1="94676" y1="73611" x2="98611" y2="80165"/>
                        <a14:foregroundMark x1="3299" y1="97222" x2="637" y2="92578"/>
                        <a14:foregroundMark x1="42998" y1="83290" x2="40799" y2="84852"/>
                        <a14:foregroundMark x1="7523" y1="92969" x2="15914" y2="93359"/>
                        <a14:foregroundMark x1="15914" y1="93359" x2="21817" y2="92188"/>
                        <a14:foregroundMark x1="7292" y1="91797" x2="13252" y2="92578"/>
                        <a14:backgroundMark x1="40270" y1="84530" x2="11384" y2="91658"/>
                        <a14:backgroundMark x1="40698" y1="83916" x2="39294" y2="84071"/>
                        <a14:backgroundMark x1="43461" y1="81337" x2="40567" y2="83681"/>
                        <a14:backgroundMark x1="43229" y1="80946" x2="42679" y2="8309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0" y="5222449"/>
            <a:ext cx="12192000" cy="1635551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5F9C494-29C1-4DCF-9A1B-675262B343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87400645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5" imgH="416" progId="TCLayout.ActiveDocument.1">
                  <p:embed/>
                </p:oleObj>
              </mc:Choice>
              <mc:Fallback>
                <p:oleObj name="think-cell Slide" r:id="rId1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5F9C494-29C1-4DCF-9A1B-675262B343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655699" y="161921"/>
            <a:ext cx="11234991" cy="6095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672000" y="994755"/>
            <a:ext cx="11234992" cy="501060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 dirty="0"/>
              <a:t>Text level 1</a:t>
            </a:r>
          </a:p>
          <a:p>
            <a:pPr lvl="1"/>
            <a:endParaRPr lang="en-GB" noProof="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1625007" y="6526388"/>
            <a:ext cx="531367" cy="206189"/>
          </a:xfrm>
          <a:prstGeom prst="rect">
            <a:avLst/>
          </a:prstGeom>
        </p:spPr>
        <p:txBody>
          <a:bodyPr vert="horz" lIns="0" tIns="21600" rIns="0" bIns="0" rtlCol="0" anchor="t" anchorCtr="0">
            <a:noAutofit/>
          </a:bodyPr>
          <a:lstStyle>
            <a:lvl1pPr algn="ctr">
              <a:defRPr sz="1200" b="1">
                <a:solidFill>
                  <a:srgbClr val="FFC000"/>
                </a:solidFill>
              </a:defRPr>
            </a:lvl1pPr>
          </a:lstStyle>
          <a:p>
            <a:fld id="{733122C9-A0B9-462F-8757-0847AD287B63}" type="slidenum">
              <a:rPr lang="en-GB" smtClean="0"/>
              <a:pPr/>
              <a:t>‹N°›</a:t>
            </a:fld>
            <a:endParaRPr lang="en-GB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C3EEE77B-4FB9-9049-0346-8CED6FA1F152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alphaModFix amt="50000"/>
          </a:blip>
          <a:stretch>
            <a:fillRect/>
          </a:stretch>
        </p:blipFill>
        <p:spPr>
          <a:xfrm>
            <a:off x="10767096" y="6428510"/>
            <a:ext cx="752904" cy="415783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41319EAD-72E2-1793-E235-B70B07F25B4F}"/>
              </a:ext>
            </a:extLst>
          </p:cNvPr>
          <p:cNvSpPr txBox="1"/>
          <p:nvPr userDrawn="1"/>
        </p:nvSpPr>
        <p:spPr>
          <a:xfrm>
            <a:off x="8637266" y="6428510"/>
            <a:ext cx="2214820" cy="2974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1333" dirty="0">
                <a:solidFill>
                  <a:srgbClr val="FFFF00"/>
                </a:solidFill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pevcameroon.cm</a:t>
            </a:r>
            <a:r>
              <a:rPr lang="fr-FR" sz="1333" dirty="0">
                <a:solidFill>
                  <a:srgbClr val="FFFF00"/>
                </a:solidFill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097249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4" r:id="rId8"/>
    <p:sldLayoutId id="2147483696" r:id="rId9"/>
  </p:sldLayoutIdLst>
  <p:hf hdr="0" ft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2667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80990" indent="-380990" algn="l" defTabSz="121917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24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431989" indent="-239994" algn="l" defTabSz="1219170" rtl="0" eaLnBrk="1" latinLnBrk="0" hangingPunct="1">
        <a:lnSpc>
          <a:spcPct val="100000"/>
        </a:lnSpc>
        <a:spcBef>
          <a:spcPts val="400"/>
        </a:spcBef>
        <a:buClr>
          <a:schemeClr val="accent3"/>
        </a:buClr>
        <a:buFont typeface="Arial" pitchFamily="34" charset="0"/>
        <a:buChar char="•"/>
        <a:defRPr sz="2133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671983" indent="-239994" algn="l" defTabSz="1219170" rtl="0" eaLnBrk="1" latinLnBrk="0" hangingPunct="1">
        <a:lnSpc>
          <a:spcPct val="100000"/>
        </a:lnSpc>
        <a:spcBef>
          <a:spcPts val="400"/>
        </a:spcBef>
        <a:buSzPct val="100000"/>
        <a:buFont typeface="Arial" pitchFamily="34" charset="0"/>
        <a:buChar char="•"/>
        <a:defRPr sz="1867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052974" indent="-380990" algn="l" defTabSz="1219170" rtl="0" eaLnBrk="1" latinLnBrk="0" hangingPunct="1">
        <a:lnSpc>
          <a:spcPct val="100000"/>
        </a:lnSpc>
        <a:spcBef>
          <a:spcPts val="400"/>
        </a:spcBef>
        <a:buSzPct val="100000"/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911977" indent="-239994" algn="l" defTabSz="1219170" rtl="0" eaLnBrk="1" latinLnBrk="0" hangingPunct="1">
        <a:lnSpc>
          <a:spcPct val="100000"/>
        </a:lnSpc>
        <a:spcBef>
          <a:spcPts val="400"/>
        </a:spcBef>
        <a:buSzPct val="100000"/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>
            <a:extLst>
              <a:ext uri="{FF2B5EF4-FFF2-40B4-BE49-F238E27FC236}">
                <a16:creationId xmlns:a16="http://schemas.microsoft.com/office/drawing/2014/main" id="{963A3CAD-0CAC-272D-2746-13551D3CFBF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2000" y="974400"/>
            <a:ext cx="6384000" cy="2232000"/>
          </a:xfrm>
        </p:spPr>
        <p:txBody>
          <a:bodyPr anchor="ctr"/>
          <a:lstStyle/>
          <a:p>
            <a:r>
              <a:rPr lang="fr-FR" dirty="0"/>
              <a:t>Expérience du Cameroun dans le changement du calendrier vaccinale du HPV et l’extension aux garçons</a:t>
            </a:r>
            <a:endParaRPr lang="en-US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DA072F9A-2984-6BED-B518-7B6C5A9BBE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72000" y="3585600"/>
            <a:ext cx="7557600" cy="1479600"/>
          </a:xfrm>
        </p:spPr>
        <p:txBody>
          <a:bodyPr/>
          <a:lstStyle/>
          <a:p>
            <a:r>
              <a:rPr lang="fr-FR" dirty="0"/>
              <a:t>Réunion des Directeurs du PEV Afrique centrale</a:t>
            </a:r>
          </a:p>
          <a:p>
            <a:r>
              <a:rPr lang="fr-FR" dirty="0"/>
              <a:t>KINSHASA, 10-12 SEPTEMBRE 2024</a:t>
            </a:r>
            <a:endParaRPr lang="fr-CM" dirty="0"/>
          </a:p>
          <a:p>
            <a:endParaRPr lang="fr-FR" dirty="0"/>
          </a:p>
        </p:txBody>
      </p:sp>
      <p:pic>
        <p:nvPicPr>
          <p:cNvPr id="7" name="Espace réservé pour une image  6" descr="Une image contenant personne, habits, sol, chaussures&#10;&#10;Description générée automatiquement">
            <a:extLst>
              <a:ext uri="{FF2B5EF4-FFF2-40B4-BE49-F238E27FC236}">
                <a16:creationId xmlns:a16="http://schemas.microsoft.com/office/drawing/2014/main" id="{A4B662BF-1DAD-2E06-79A3-E46A33DC848B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/>
          <a:srcRect l="-430" t="18376" r="11411" b="21167"/>
          <a:stretch/>
        </p:blipFill>
        <p:spPr>
          <a:xfrm>
            <a:off x="7213873" y="83128"/>
            <a:ext cx="4871158" cy="4679352"/>
          </a:xfrm>
        </p:spPr>
      </p:pic>
    </p:spTree>
    <p:extLst>
      <p:ext uri="{BB962C8B-B14F-4D97-AF65-F5344CB8AC3E}">
        <p14:creationId xmlns:p14="http://schemas.microsoft.com/office/powerpoint/2010/main" val="25508005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A9219EC-364B-A3CD-B8BB-A715AFAE0F21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en-US" dirty="0"/>
              <a:t>Plan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690E4A4-9039-9E4C-D56C-6575BF07066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vert="horz" lIns="91440" tIns="45720" rIns="91440" bIns="45720" rtlCol="0" anchor="ctr">
            <a:normAutofit fontScale="85000" lnSpcReduction="20000"/>
          </a:bodyPr>
          <a:lstStyle/>
          <a:p>
            <a:fld id="{31926C06-7B81-A449-8A9E-FA2C54DC00E5}" type="slidenum">
              <a:rPr lang="en-US"/>
              <a:pPr/>
              <a:t>2</a:t>
            </a:fld>
            <a:endParaRPr lang="en-US"/>
          </a:p>
        </p:txBody>
      </p:sp>
      <p:graphicFrame>
        <p:nvGraphicFramePr>
          <p:cNvPr id="6" name="Espace réservé du contenu 2">
            <a:extLst>
              <a:ext uri="{FF2B5EF4-FFF2-40B4-BE49-F238E27FC236}">
                <a16:creationId xmlns:a16="http://schemas.microsoft.com/office/drawing/2014/main" id="{97BC46F9-D7FE-6905-7934-AF97A6B77E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43215820"/>
              </p:ext>
            </p:extLst>
          </p:nvPr>
        </p:nvGraphicFramePr>
        <p:xfrm>
          <a:off x="1007882" y="1453857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5014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A9219EC-364B-A3CD-B8BB-A715AFAE0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699" y="161921"/>
            <a:ext cx="11234991" cy="702783"/>
          </a:xfrm>
        </p:spPr>
        <p:txBody>
          <a:bodyPr>
            <a:normAutofit fontScale="90000"/>
          </a:bodyPr>
          <a:lstStyle/>
          <a:p>
            <a:r>
              <a:rPr lang="fr-FR" dirty="0"/>
              <a:t>Pourquoi le switch du  calendrier vaccinal du HPV de dose à une dose et l’extension aux garçons ?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5B15F14-931E-F96D-71B6-D77F5330E2A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1926C06-7B81-A449-8A9E-FA2C54DC00E5}" type="slidenum">
              <a:rPr lang="fr-FR" smtClean="0"/>
              <a:pPr/>
              <a:t>3</a:t>
            </a:fld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99C47F6-AFB9-3A13-966B-20CEDD0C1F0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solidFill>
            <a:schemeClr val="accent2"/>
          </a:solidFill>
        </p:spPr>
        <p:txBody>
          <a:bodyPr/>
          <a:lstStyle/>
          <a:p>
            <a:pPr marL="0" indent="0">
              <a:buNone/>
            </a:pPr>
            <a:r>
              <a:rPr lang="fr-FR" dirty="0"/>
              <a:t>Adoption d’un calendrier à une dos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8C9DB456-EC48-3A8A-6747-E553D9154EF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Données sur la non-infériorité du calendrier d’une dose  par rapport au calendrier à une dose soutenue par le SAGE</a:t>
            </a:r>
          </a:p>
          <a:p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Avantages programmatiques du calendrier à une dose notamment sur le cout, la logistique, le taux d’abandon</a:t>
            </a:r>
          </a:p>
          <a:p>
            <a:r>
              <a:rPr lang="fr-FR" dirty="0">
                <a:solidFill>
                  <a:schemeClr val="accent6">
                    <a:lumMod val="75000"/>
                  </a:schemeClr>
                </a:solidFill>
              </a:rPr>
              <a:t>Volonté du CCIA</a:t>
            </a:r>
          </a:p>
          <a:p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DFC28197-801B-57A5-3B51-2EBDC80EDC5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solidFill>
            <a:schemeClr val="accent2"/>
          </a:solidFill>
        </p:spPr>
        <p:txBody>
          <a:bodyPr/>
          <a:lstStyle/>
          <a:p>
            <a:r>
              <a:rPr lang="fr-FR" dirty="0"/>
              <a:t>Extension HPV aux garçons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5E339813-66EA-E817-586C-BF9758FA7E3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fr-FR" dirty="0"/>
              <a:t>Perception négative de la vaccination ciblant uniquement les jeunes filles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fr-FR" dirty="0"/>
              <a:t>Données locales démontrant une incidence élevée du portage du HPV et des infections à HPV chez les hommes (verrues génitales)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fr-FR" dirty="0"/>
              <a:t>Expérience de la vaccination non genrée dans certains pay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0200BCC-5D97-9272-4B0A-7741B2F3A27C}"/>
              </a:ext>
            </a:extLst>
          </p:cNvPr>
          <p:cNvSpPr/>
          <p:nvPr/>
        </p:nvSpPr>
        <p:spPr>
          <a:xfrm>
            <a:off x="4497927" y="699425"/>
            <a:ext cx="47720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*</a:t>
            </a:r>
            <a:r>
              <a:rPr lang="en-US" sz="1100" dirty="0">
                <a:solidFill>
                  <a:schemeClr val="bg1"/>
                </a:solidFill>
              </a:rPr>
              <a:t>IRMMA : Identify – Reach – Monitor – Measure – Advocate</a:t>
            </a:r>
          </a:p>
        </p:txBody>
      </p:sp>
    </p:spTree>
    <p:extLst>
      <p:ext uri="{BB962C8B-B14F-4D97-AF65-F5344CB8AC3E}">
        <p14:creationId xmlns:p14="http://schemas.microsoft.com/office/powerpoint/2010/main" val="18917262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A9219EC-364B-A3CD-B8BB-A715AFAE0F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ctr" anchorCtr="0">
            <a:normAutofit/>
          </a:bodyPr>
          <a:lstStyle/>
          <a:p>
            <a:r>
              <a:rPr lang="fr-FR" dirty="0"/>
              <a:t>Qu’est-ce le pays a fait dans le rattrapage des zéro dose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5B15F14-931E-F96D-71B6-D77F5330E2A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 vert="horz" lIns="0" tIns="21600" rIns="0" bIns="0" rtlCol="0" anchor="t" anchorCtr="0">
            <a:normAutofit/>
          </a:bodyPr>
          <a:lstStyle/>
          <a:p>
            <a:pPr>
              <a:spcAft>
                <a:spcPts val="600"/>
              </a:spcAft>
            </a:pPr>
            <a:fld id="{31926C06-7B81-A449-8A9E-FA2C54DC00E5}" type="slidenum">
              <a:rPr lang="en-GB" smtClean="0"/>
              <a:pPr>
                <a:spcAft>
                  <a:spcPts val="600"/>
                </a:spcAft>
              </a:pPr>
              <a:t>4</a:t>
            </a:fld>
            <a:endParaRPr lang="en-GB"/>
          </a:p>
        </p:txBody>
      </p:sp>
      <p:graphicFrame>
        <p:nvGraphicFramePr>
          <p:cNvPr id="22" name="Espace réservé du contenu 12">
            <a:extLst>
              <a:ext uri="{FF2B5EF4-FFF2-40B4-BE49-F238E27FC236}">
                <a16:creationId xmlns:a16="http://schemas.microsoft.com/office/drawing/2014/main" id="{BEE028A8-2E07-62B7-407B-A6D324D526A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47096070"/>
              </p:ext>
            </p:extLst>
          </p:nvPr>
        </p:nvGraphicFramePr>
        <p:xfrm>
          <a:off x="904972" y="1120140"/>
          <a:ext cx="10990178" cy="49387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4121274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A9219EC-364B-A3CD-B8BB-A715AFAE0F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lvl="0">
              <a:lnSpc>
                <a:spcPct val="100000"/>
              </a:lnSpc>
            </a:pPr>
            <a:r>
              <a:rPr lang="fr-FR" sz="2400" dirty="0"/>
              <a:t>Qu’est ce qui a bien marché et qu’est ce qui nécessite d’être amélioré ?</a:t>
            </a:r>
            <a:endParaRPr lang="en-US" sz="2400" noProof="0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5B15F14-931E-F96D-71B6-D77F5330E2A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1926C06-7B81-A449-8A9E-FA2C54DC00E5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FB11201-CD09-1332-BB9A-777B81A47BF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 marL="0" indent="0">
              <a:buNone/>
            </a:pPr>
            <a:r>
              <a:rPr lang="fr-FR" dirty="0"/>
              <a:t>Ce qui a bien marché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8224E11-0E48-435E-5C77-6AAEE0F2B7F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2000" y="1531951"/>
            <a:ext cx="5119202" cy="4626624"/>
          </a:xfrm>
        </p:spPr>
        <p:txBody>
          <a:bodyPr/>
          <a:lstStyle/>
          <a:p>
            <a:r>
              <a:rPr lang="fr-FR" dirty="0"/>
              <a:t>Les travaux du NITAG basées sur les données locales</a:t>
            </a:r>
          </a:p>
          <a:p>
            <a:r>
              <a:rPr lang="fr-FR" dirty="0"/>
              <a:t>L’appropriation par le Gouvernement des recommandations du NITAG et la mobilisation des ressources pour l’achat des vaccins HPV pour les garçons,  non soutenus par GAVI</a:t>
            </a:r>
          </a:p>
          <a:p>
            <a:r>
              <a:rPr lang="fr-FR" dirty="0"/>
              <a:t>Les dialogues communautaires pour  créer/renforcer la perception de risque</a:t>
            </a:r>
          </a:p>
          <a:p>
            <a:r>
              <a:rPr lang="fr-FR" dirty="0"/>
              <a:t>L’implication des  jeunes volontaire ( Association Family Club)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547A8CA8-F598-A91C-7489-D61C6EFF8A0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Ce qui nécessite une amélioration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6A1C635-5093-20AD-0602-C23DAC06E73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400799" y="1531951"/>
            <a:ext cx="5224207" cy="4626624"/>
          </a:xfrm>
        </p:spPr>
        <p:txBody>
          <a:bodyPr/>
          <a:lstStyle/>
          <a:p>
            <a:r>
              <a:rPr lang="fr-FR" dirty="0"/>
              <a:t>L’intégration dans la plateforme de médecine scolaire n’a pas réussi en raison de l’environnement sociopolitique défavorable et les limites de l’organisation de la médecine scolaire</a:t>
            </a:r>
          </a:p>
          <a:p>
            <a:endParaRPr lang="fr-FR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0200BCC-5D97-9272-4B0A-7741B2F3A27C}"/>
              </a:ext>
            </a:extLst>
          </p:cNvPr>
          <p:cNvSpPr/>
          <p:nvPr/>
        </p:nvSpPr>
        <p:spPr>
          <a:xfrm>
            <a:off x="4497927" y="699425"/>
            <a:ext cx="47720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*</a:t>
            </a:r>
            <a:r>
              <a:rPr lang="en-US" sz="1100" dirty="0">
                <a:solidFill>
                  <a:schemeClr val="bg1"/>
                </a:solidFill>
              </a:rPr>
              <a:t>IRMMA : Identify – Reach – Monitor – Measure – Advocate</a:t>
            </a:r>
          </a:p>
        </p:txBody>
      </p:sp>
    </p:spTree>
    <p:extLst>
      <p:ext uri="{BB962C8B-B14F-4D97-AF65-F5344CB8AC3E}">
        <p14:creationId xmlns:p14="http://schemas.microsoft.com/office/powerpoint/2010/main" val="30170587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05AA706-968A-E5B2-FA39-A8173B3572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2000" y="3614573"/>
            <a:ext cx="10848000" cy="2496671"/>
          </a:xfrm>
        </p:spPr>
        <p:txBody>
          <a:bodyPr/>
          <a:lstStyle/>
          <a:p>
            <a:r>
              <a:rPr lang="fr-FR" dirty="0"/>
              <a:t>Recommandations</a:t>
            </a:r>
          </a:p>
          <a:p>
            <a:pPr lvl="1"/>
            <a:r>
              <a:rPr lang="fr-FR" dirty="0"/>
              <a:t>Pour les pays qui ont introduit, il est important de comprendre les barrières et les facteurs favorisant la vaccination HPV </a:t>
            </a:r>
          </a:p>
          <a:p>
            <a:pPr lvl="1"/>
            <a:r>
              <a:rPr lang="fr-FR" dirty="0"/>
              <a:t>Pour ceux qui prépare l’introduction, la plateforme de médecine scolaire offre la meilleure approche de vaccination si l’environnement sociopolitique le permet</a:t>
            </a:r>
          </a:p>
          <a:p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681E9C36-CAC0-FCF1-67E6-9FD2BA89028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2000" y="1206588"/>
            <a:ext cx="10848000" cy="2059693"/>
          </a:xfrm>
        </p:spPr>
        <p:txBody>
          <a:bodyPr/>
          <a:lstStyle/>
          <a:p>
            <a:r>
              <a:rPr lang="fr-FR" dirty="0"/>
              <a:t>Leçons tirées</a:t>
            </a:r>
          </a:p>
          <a:p>
            <a:pPr lvl="1"/>
            <a:r>
              <a:rPr lang="fr-FR" dirty="0"/>
              <a:t>L’organisation des dialogues communautaires axés sur la perception de risque du cancer du col et verrue génitale a  été le facteur clé qui a favorisé  l’adhésion durable des communautés à la vaccination contre le HPV</a:t>
            </a:r>
          </a:p>
          <a:p>
            <a:pPr lvl="1"/>
            <a:r>
              <a:rPr lang="fr-FR" dirty="0"/>
              <a:t>La diversification des stratégies d’offres de services en communauté, dans les lieux de culte et dans les écoles  est indispensable pour obtenir une couverture soutenue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5B15F14-931E-F96D-71B6-D77F5330E2A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1926C06-7B81-A449-8A9E-FA2C54DC00E5}" type="slidenum">
              <a:rPr lang="fr-FR" smtClean="0"/>
              <a:pPr/>
              <a:t>6</a:t>
            </a:fld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EA9219EC-364B-A3CD-B8BB-A715AFAE0F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fr-FR" sz="2400" dirty="0"/>
              <a:t>Quelles leçons tirées de l’expérience et quelles recommandations aux autres pays ?</a:t>
            </a:r>
            <a:endParaRPr lang="en-US" sz="2400" noProof="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0200BCC-5D97-9272-4B0A-7741B2F3A27C}"/>
              </a:ext>
            </a:extLst>
          </p:cNvPr>
          <p:cNvSpPr/>
          <p:nvPr/>
        </p:nvSpPr>
        <p:spPr>
          <a:xfrm>
            <a:off x="4497927" y="699425"/>
            <a:ext cx="477202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*</a:t>
            </a:r>
            <a:r>
              <a:rPr lang="en-US" sz="1100" dirty="0">
                <a:solidFill>
                  <a:schemeClr val="bg1"/>
                </a:solidFill>
              </a:rPr>
              <a:t>IRMMA : Identify – Reach – Monitor – Measure – Advocate</a:t>
            </a:r>
          </a:p>
        </p:txBody>
      </p:sp>
    </p:spTree>
    <p:extLst>
      <p:ext uri="{BB962C8B-B14F-4D97-AF65-F5344CB8AC3E}">
        <p14:creationId xmlns:p14="http://schemas.microsoft.com/office/powerpoint/2010/main" val="17612207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E71F774D-B343-C6B4-938A-B207690C8CA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699875" y="6445250"/>
            <a:ext cx="492125" cy="365125"/>
          </a:xfrm>
        </p:spPr>
        <p:txBody>
          <a:bodyPr/>
          <a:lstStyle/>
          <a:p>
            <a:fld id="{31926C06-7B81-A449-8A9E-FA2C54DC00E5}" type="slidenum">
              <a:rPr lang="fr-FR" smtClean="0"/>
              <a:pPr/>
              <a:t>7</a:t>
            </a:fld>
            <a:endParaRPr lang="fr-FR" dirty="0"/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9788B29B-24B8-FE1C-AA32-C364502128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2381" y="700248"/>
            <a:ext cx="5248350" cy="4535611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25981064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avi ppt template_blank 16-9">
  <a:themeElements>
    <a:clrScheme name="GAVI PRIMARY COLOURS">
      <a:dk1>
        <a:srgbClr val="343434"/>
      </a:dk1>
      <a:lt1>
        <a:srgbClr val="FFFFFF"/>
      </a:lt1>
      <a:dk2>
        <a:srgbClr val="81B900"/>
      </a:dk2>
      <a:lt2>
        <a:srgbClr val="878787"/>
      </a:lt2>
      <a:accent1>
        <a:srgbClr val="005CB9"/>
      </a:accent1>
      <a:accent2>
        <a:srgbClr val="00A1DF"/>
      </a:accent2>
      <a:accent3>
        <a:srgbClr val="95D600"/>
      </a:accent3>
      <a:accent4>
        <a:srgbClr val="A51890"/>
      </a:accent4>
      <a:accent5>
        <a:srgbClr val="CE0F69"/>
      </a:accent5>
      <a:accent6>
        <a:srgbClr val="D50032"/>
      </a:accent6>
      <a:hlink>
        <a:srgbClr val="343434"/>
      </a:hlink>
      <a:folHlink>
        <a:srgbClr val="343434"/>
      </a:folHlink>
    </a:clrScheme>
    <a:fontScheme name="Office 2007 - 2010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CHOLERA">
      <a:srgbClr val="AF5C37"/>
    </a:custClr>
    <a:custClr name="HEPB">
      <a:srgbClr val="D50032"/>
    </a:custClr>
    <a:custClr name="HPV">
      <a:srgbClr val="F59BBB"/>
    </a:custClr>
    <a:custClr name="IPV INJECTABLE POLIO">
      <a:srgbClr val="CEDC00"/>
    </a:custClr>
    <a:custClr name="JAPANESE ENCEPHALITIS">
      <a:srgbClr val="B288B9"/>
    </a:custClr>
    <a:custClr name="MEASLES">
      <a:srgbClr val="41B6E6"/>
    </a:custClr>
    <a:custClr name="MEASLES 2 DOSE">
      <a:srgbClr val="0097A9"/>
    </a:custClr>
    <a:custClr name="MEASLES RUBELLA">
      <a:srgbClr val="005A70"/>
    </a:custClr>
    <a:custClr name="MENINGITIS A">
      <a:srgbClr val="009639"/>
    </a:custClr>
    <a:custClr name="PENTA">
      <a:srgbClr val="653279"/>
    </a:custClr>
    <a:custClr name="PNEUMO">
      <a:srgbClr val="0033A0"/>
    </a:custClr>
    <a:custClr name="ROTAVIRUS">
      <a:srgbClr val="D86018"/>
    </a:custClr>
    <a:custClr name="YELLOW FEVER">
      <a:srgbClr val="EAAA00"/>
    </a:custClr>
    <a:custClr name="DENGUE">
      <a:srgbClr val="C6C6C5"/>
    </a:custClr>
    <a:custClr name="MALARIA">
      <a:srgbClr val="A7A7A7"/>
    </a:custClr>
    <a:custClr name="MATERNAL FLU">
      <a:srgbClr val="878786"/>
    </a:custClr>
    <a:custClr name="RABIES">
      <a:srgbClr val="636362"/>
    </a:custClr>
  </a:custClrLst>
  <a:extLst>
    <a:ext uri="{05A4C25C-085E-4340-85A3-A5531E510DB2}">
      <thm15:themeFamily xmlns:thm15="http://schemas.microsoft.com/office/thememl/2012/main" name="Gavi ppt template_blank_16-9" id="{DEBBE98C-C3E5-984B-BC10-1E92A94DEDF8}" vid="{2886559F-29FB-714C-86BD-EB166E1AAC82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72a1044c-19e7-4fe7-ae5d-508b166f9df9">
      <Terms xmlns="http://schemas.microsoft.com/office/infopath/2007/PartnerControls"/>
    </lcf76f155ced4ddcb4097134ff3c332f>
    <TaxCatchAll xmlns="5c833224-983b-4147-801e-1f0478cab87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4A34450A0BB5A408057FED69A12C11E" ma:contentTypeVersion="18" ma:contentTypeDescription="Crée un document." ma:contentTypeScope="" ma:versionID="9db7a229e7ca60251e4a5eaffa1a4dfe">
  <xsd:schema xmlns:xsd="http://www.w3.org/2001/XMLSchema" xmlns:xs="http://www.w3.org/2001/XMLSchema" xmlns:p="http://schemas.microsoft.com/office/2006/metadata/properties" xmlns:ns2="72a1044c-19e7-4fe7-ae5d-508b166f9df9" xmlns:ns3="5c833224-983b-4147-801e-1f0478cab871" targetNamespace="http://schemas.microsoft.com/office/2006/metadata/properties" ma:root="true" ma:fieldsID="1d28089975d4e1fa5270cf7c624c6640" ns2:_="" ns3:_="">
    <xsd:import namespace="72a1044c-19e7-4fe7-ae5d-508b166f9df9"/>
    <xsd:import namespace="5c833224-983b-4147-801e-1f0478cab87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a1044c-19e7-4fe7-ae5d-508b166f9df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Balises d’images" ma:readOnly="false" ma:fieldId="{5cf76f15-5ced-4ddc-b409-7134ff3c332f}" ma:taxonomyMulti="true" ma:sspId="77a92887-d5ea-4af9-a0e3-79d08724ea5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c833224-983b-4147-801e-1f0478cab87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eaec1551-1375-4401-8970-4de58f79c3d8}" ma:internalName="TaxCatchAll" ma:showField="CatchAllData" ma:web="5c833224-983b-4147-801e-1f0478cab87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79AC463-ED1C-43AD-BF41-B11591272C5E}">
  <ds:schemaRefs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5c833224-983b-4147-801e-1f0478cab871"/>
    <ds:schemaRef ds:uri="72a1044c-19e7-4fe7-ae5d-508b166f9df9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2E5ACE50-B26E-46EA-A97B-C936C7CEB01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2a1044c-19e7-4fe7-ae5d-508b166f9df9"/>
    <ds:schemaRef ds:uri="5c833224-983b-4147-801e-1f0478cab87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EC51EB-11A7-40FE-8C32-5780BAF9130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60</TotalTime>
  <Words>523</Words>
  <Application>Microsoft Macintosh PowerPoint</Application>
  <PresentationFormat>Grand écran</PresentationFormat>
  <Paragraphs>53</Paragraphs>
  <Slides>7</Slides>
  <Notes>4</Notes>
  <HiddenSlides>0</HiddenSlides>
  <MMClips>0</MMClips>
  <ScaleCrop>false</ScaleCrop>
  <HeadingPairs>
    <vt:vector size="8" baseType="variant">
      <vt:variant>
        <vt:lpstr>Polices utilisées</vt:lpstr>
      </vt:variant>
      <vt:variant>
        <vt:i4>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7</vt:i4>
      </vt:variant>
    </vt:vector>
  </HeadingPairs>
  <TitlesOfParts>
    <vt:vector size="11" baseType="lpstr">
      <vt:lpstr>Arial</vt:lpstr>
      <vt:lpstr>Calibri</vt:lpstr>
      <vt:lpstr>Gavi ppt template_blank 16-9</vt:lpstr>
      <vt:lpstr>think-cell Slide</vt:lpstr>
      <vt:lpstr>Présentation PowerPoint</vt:lpstr>
      <vt:lpstr>Plan</vt:lpstr>
      <vt:lpstr>Pourquoi le switch du  calendrier vaccinal du HPV de dose à une dose et l’extension aux garçons ?</vt:lpstr>
      <vt:lpstr>Qu’est-ce le pays a fait dans le rattrapage des zéro dose</vt:lpstr>
      <vt:lpstr>Qu’est ce qui a bien marché et qu’est ce qui nécessite d’être amélioré ?</vt:lpstr>
      <vt:lpstr>Quelles leçons tirées de l’expérience et quelles recommandations aux autres pays ?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 contrôle des épidémies de rougeole en Afrique Centrale (Défis, Actions concrètes pour prévenir, détecter et riposter en temps opportun afin de contrôler les épidémies;  chronogramme de mise en œuvre des actions)</dc:title>
  <dc:creator>Shalom, TCHOKFE NDOULA</dc:creator>
  <cp:lastModifiedBy>Shalom Tchokfe Ndoula</cp:lastModifiedBy>
  <cp:revision>251</cp:revision>
  <dcterms:created xsi:type="dcterms:W3CDTF">2022-05-21T09:33:54Z</dcterms:created>
  <dcterms:modified xsi:type="dcterms:W3CDTF">2024-09-09T18:53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4A34450A0BB5A408057FED69A12C11E</vt:lpwstr>
  </property>
  <property fmtid="{D5CDD505-2E9C-101B-9397-08002B2CF9AE}" pid="3" name="MediaServiceImageTags">
    <vt:lpwstr/>
  </property>
</Properties>
</file>